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14"/>
  </p:notesMasterIdLst>
  <p:sldIdLst>
    <p:sldId id="281" r:id="rId6"/>
    <p:sldId id="282" r:id="rId7"/>
    <p:sldId id="283" r:id="rId8"/>
    <p:sldId id="294" r:id="rId9"/>
    <p:sldId id="293" r:id="rId10"/>
    <p:sldId id="292" r:id="rId11"/>
    <p:sldId id="303" r:id="rId12"/>
    <p:sldId id="302" r:id="rId13"/>
  </p:sldIdLst>
  <p:sldSz cx="12192000" cy="6858000"/>
  <p:notesSz cx="6797675" cy="9872663"/>
  <p:defaultTextStyle>
    <a:defPPr>
      <a:defRPr lang="ca-E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 Jornet Mallafre" initials="AJ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FFFFF"/>
    <a:srgbClr val="800000"/>
    <a:srgbClr val="C7293F"/>
    <a:srgbClr val="DBEEF4"/>
    <a:srgbClr val="752911"/>
    <a:srgbClr val="00CCFF"/>
    <a:srgbClr val="A03C76"/>
    <a:srgbClr val="D49A50"/>
    <a:srgbClr val="A9CE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Estil mitjà 2 - èmfasi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 mitjà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56" autoAdjust="0"/>
    <p:restoredTop sz="96357" autoAdjust="0"/>
  </p:normalViewPr>
  <p:slideViewPr>
    <p:cSldViewPr>
      <p:cViewPr varScale="1">
        <p:scale>
          <a:sx n="113" d="100"/>
          <a:sy n="113" d="100"/>
        </p:scale>
        <p:origin x="1036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24381317653575"/>
          <c:y val="0.10324381317653575"/>
          <c:w val="0.7910129673622871"/>
          <c:h val="0.791012967362287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3484C9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B050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A68-4339-89ED-D0A6B5CE5B2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A68-4339-89ED-D0A6B5CE5B25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A68-4339-89ED-D0A6B5CE5B25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Llindar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4.2</c:v>
                </c:pt>
                <c:pt idx="1">
                  <c:v>8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68-4339-89ED-D0A6B5CE5B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24381317653575"/>
          <c:y val="0.10324381317653575"/>
          <c:w val="0.7910129673622871"/>
          <c:h val="0.791012967362287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00B050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62E-4BE9-B503-DE8D5EAC5F8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562E-4BE9-B503-DE8D5EAC5F8C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Part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2E-4BE9-B503-DE8D5EAC5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24381317653575"/>
          <c:y val="0.10324381317653575"/>
          <c:w val="0.7910129673622871"/>
          <c:h val="0.791012967362287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C00000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B050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7DE-4262-B9DD-019D7F11643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7DE-4262-B9DD-019D7F116438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Part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DE-4262-B9DD-019D7F1164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C$8</c:f>
              <c:strCache>
                <c:ptCount val="1"/>
                <c:pt idx="0">
                  <c:v>Increment de codi actu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cat>
            <c:strRef>
              <c:f>Hoja1!$B$9:$B$11</c:f>
              <c:strCache>
                <c:ptCount val="3"/>
                <c:pt idx="0">
                  <c:v>Blocker</c:v>
                </c:pt>
                <c:pt idx="1">
                  <c:v>Critical</c:v>
                </c:pt>
                <c:pt idx="2">
                  <c:v>Duplicats</c:v>
                </c:pt>
              </c:strCache>
            </c:strRef>
          </c:cat>
          <c:val>
            <c:numRef>
              <c:f>Hoja1!$C$9:$C$1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0B-4C8C-86F3-CDD93F9CBB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8750240"/>
        <c:axId val="204796072"/>
      </c:barChart>
      <c:catAx>
        <c:axId val="20875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04796072"/>
        <c:crosses val="autoZero"/>
        <c:auto val="1"/>
        <c:lblAlgn val="ctr"/>
        <c:lblOffset val="100"/>
        <c:noMultiLvlLbl val="0"/>
      </c:catAx>
      <c:valAx>
        <c:axId val="204796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08750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Hoja1!$C$22</c:f>
              <c:strCache>
                <c:ptCount val="1"/>
                <c:pt idx="0">
                  <c:v>Blocke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I$2:$K$2</c:f>
              <c:strCache>
                <c:ptCount val="3"/>
                <c:pt idx="0">
                  <c:v>Versió Inicial</c:v>
                </c:pt>
                <c:pt idx="1">
                  <c:v>Versió Anterior</c:v>
                </c:pt>
                <c:pt idx="2">
                  <c:v>Versió Actual</c:v>
                </c:pt>
              </c:strCache>
            </c:strRef>
          </c:cat>
          <c:val>
            <c:numRef>
              <c:f>Hoja1!$I$3:$K$3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7E1-4EE9-8540-0BC666674D7F}"/>
            </c:ext>
          </c:extLst>
        </c:ser>
        <c:ser>
          <c:idx val="1"/>
          <c:order val="1"/>
          <c:tx>
            <c:strRef>
              <c:f>Hoja1!$C$23</c:f>
              <c:strCache>
                <c:ptCount val="1"/>
                <c:pt idx="0">
                  <c:v>Critic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Hoja1!$I$2:$K$2</c:f>
              <c:strCache>
                <c:ptCount val="3"/>
                <c:pt idx="0">
                  <c:v>Versió Inicial</c:v>
                </c:pt>
                <c:pt idx="1">
                  <c:v>Versió Anterior</c:v>
                </c:pt>
                <c:pt idx="2">
                  <c:v>Versió Actual</c:v>
                </c:pt>
              </c:strCache>
            </c:strRef>
          </c:cat>
          <c:val>
            <c:numRef>
              <c:f>Hoja1!$I$4:$K$4</c:f>
              <c:numCache>
                <c:formatCode>General</c:formatCode>
                <c:ptCount val="3"/>
                <c:pt idx="0">
                  <c:v>9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E1-4EE9-8540-0BC666674D7F}"/>
            </c:ext>
          </c:extLst>
        </c:ser>
        <c:ser>
          <c:idx val="2"/>
          <c:order val="2"/>
          <c:tx>
            <c:strRef>
              <c:f>Hoja1!$C$24</c:f>
              <c:strCache>
                <c:ptCount val="1"/>
                <c:pt idx="0">
                  <c:v>Duplicat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Hoja1!$I$2:$K$2</c:f>
              <c:strCache>
                <c:ptCount val="3"/>
                <c:pt idx="0">
                  <c:v>Versió Inicial</c:v>
                </c:pt>
                <c:pt idx="1">
                  <c:v>Versió Anterior</c:v>
                </c:pt>
                <c:pt idx="2">
                  <c:v>Versió Actual</c:v>
                </c:pt>
              </c:strCache>
            </c:strRef>
          </c:cat>
          <c:val>
            <c:numRef>
              <c:f>Hoja1!$I$5:$K$5</c:f>
              <c:numCache>
                <c:formatCode>0.00%</c:formatCode>
                <c:ptCount val="3"/>
                <c:pt idx="0">
                  <c:v>0.66600000000000004</c:v>
                </c:pt>
                <c:pt idx="1">
                  <c:v>0.66700000000000004</c:v>
                </c:pt>
                <c:pt idx="2">
                  <c:v>0.663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E1-4EE9-8540-0BC666674D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099768"/>
        <c:axId val="216106656"/>
      </c:lineChart>
      <c:catAx>
        <c:axId val="216099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6106656"/>
        <c:crosses val="autoZero"/>
        <c:auto val="1"/>
        <c:lblAlgn val="ctr"/>
        <c:lblOffset val="100"/>
        <c:noMultiLvlLbl val="0"/>
      </c:catAx>
      <c:valAx>
        <c:axId val="216106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6099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capçaler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3" name="Contenidor de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658BE17-8848-447A-88DB-A1ACE19B02A0}" type="datetimeFigureOut">
              <a:rPr lang="ca-ES"/>
              <a:pPr>
                <a:defRPr/>
              </a:pPr>
              <a:t>16/6/2020</a:t>
            </a:fld>
            <a:endParaRPr lang="ca-ES"/>
          </a:p>
        </p:txBody>
      </p:sp>
      <p:sp>
        <p:nvSpPr>
          <p:cNvPr id="4" name="Contenidor d'imatge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a-ES" noProof="0"/>
          </a:p>
        </p:txBody>
      </p:sp>
      <p:sp>
        <p:nvSpPr>
          <p:cNvPr id="5" name="Contenidor de notes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a-ES" noProof="0"/>
              <a:t>Feu clic aquí per editar estils</a:t>
            </a:r>
          </a:p>
          <a:p>
            <a:pPr lvl="1"/>
            <a:r>
              <a:rPr lang="ca-ES" noProof="0"/>
              <a:t>Segon nivell</a:t>
            </a:r>
          </a:p>
          <a:p>
            <a:pPr lvl="2"/>
            <a:r>
              <a:rPr lang="ca-ES" noProof="0"/>
              <a:t>Tercer nivell</a:t>
            </a:r>
          </a:p>
          <a:p>
            <a:pPr lvl="3"/>
            <a:r>
              <a:rPr lang="ca-ES" noProof="0"/>
              <a:t>Quart nivell</a:t>
            </a:r>
          </a:p>
          <a:p>
            <a:pPr lvl="4"/>
            <a:r>
              <a:rPr lang="ca-ES" noProof="0"/>
              <a:t>Cinquè nivell</a:t>
            </a:r>
          </a:p>
        </p:txBody>
      </p:sp>
      <p:sp>
        <p:nvSpPr>
          <p:cNvPr id="6" name="Contenidor de peu de pàgina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Conteni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E2C669EE-928C-4186-BF37-77E02C44E413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62950228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1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358298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55034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3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5275102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494025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4952900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106639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C669EE-928C-4186-BF37-77E02C44E413}" type="slidenum">
              <a:rPr lang="ca-ES" altLang="ca-ES" smtClean="0"/>
              <a:pPr>
                <a:defRPr/>
              </a:pPr>
              <a:t>7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2899659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ol i comia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100" y="720725"/>
            <a:ext cx="3479800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ol 1"/>
          <p:cNvSpPr>
            <a:spLocks noGrp="1"/>
          </p:cNvSpPr>
          <p:nvPr>
            <p:ph type="ctrTitle"/>
          </p:nvPr>
        </p:nvSpPr>
        <p:spPr>
          <a:xfrm>
            <a:off x="914400" y="3290400"/>
            <a:ext cx="10363200" cy="12528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ca-ES" dirty="0"/>
              <a:t>Feu clic aquí per editar l'estil</a:t>
            </a:r>
          </a:p>
        </p:txBody>
      </p:sp>
      <p:sp>
        <p:nvSpPr>
          <p:cNvPr id="3" name="Subtítol 2"/>
          <p:cNvSpPr>
            <a:spLocks noGrp="1"/>
          </p:cNvSpPr>
          <p:nvPr>
            <p:ph type="subTitle" idx="1"/>
          </p:nvPr>
        </p:nvSpPr>
        <p:spPr>
          <a:xfrm>
            <a:off x="916800" y="4827600"/>
            <a:ext cx="10363200" cy="763200"/>
          </a:xfrm>
        </p:spPr>
        <p:txBody>
          <a:bodyPr/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a-ES" dirty="0"/>
              <a:t>Feu clic aquí per editar l'estil de subtítols del patró</a:t>
            </a:r>
          </a:p>
        </p:txBody>
      </p:sp>
      <p:sp>
        <p:nvSpPr>
          <p:cNvPr id="5" name="Contenidor de número de diapositiva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1AA767D-8EF4-4E70-9352-FB51EE065EAF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3405400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ol i objec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475200" y="2059201"/>
            <a:ext cx="11285429" cy="3674056"/>
          </a:xfrm>
        </p:spPr>
        <p:txBody>
          <a:bodyPr/>
          <a:lstStyle/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5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10628-3F84-46CA-901F-863DFE091600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3857113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ol i objectes sen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or recte 6"/>
          <p:cNvCxnSpPr/>
          <p:nvPr/>
        </p:nvCxnSpPr>
        <p:spPr>
          <a:xfrm>
            <a:off x="623888" y="1073150"/>
            <a:ext cx="111791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475200" y="2059201"/>
            <a:ext cx="11285429" cy="4106103"/>
          </a:xfrm>
        </p:spPr>
        <p:txBody>
          <a:bodyPr/>
          <a:lstStyle/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8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A6AB-E397-41FD-8E8D-50262EC7DC60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7061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ol i objectes sense nivel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 dirty="0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475200" y="2059201"/>
            <a:ext cx="11285429" cy="353003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ca-ES" dirty="0"/>
              <a:t>Feu clic aquí per editar estils</a:t>
            </a:r>
          </a:p>
        </p:txBody>
      </p:sp>
      <p:sp>
        <p:nvSpPr>
          <p:cNvPr id="7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5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AB4B3-3D1E-4095-8858-E3940C806638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2013764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s colum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sz="half" idx="1"/>
          </p:nvPr>
        </p:nvSpPr>
        <p:spPr>
          <a:xfrm>
            <a:off x="475200" y="2059201"/>
            <a:ext cx="5384800" cy="367405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4" name="Contenidor de contingut 3"/>
          <p:cNvSpPr>
            <a:spLocks noGrp="1"/>
          </p:cNvSpPr>
          <p:nvPr>
            <p:ph sz="half" idx="2"/>
          </p:nvPr>
        </p:nvSpPr>
        <p:spPr>
          <a:xfrm>
            <a:off x="6197600" y="2059201"/>
            <a:ext cx="5384800" cy="367405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9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A9F526-6EE8-42F5-8722-82AC972D72B8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06538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8306C41-9773-4E51-AC33-8461241AF15E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4042469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ba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5691" y="992169"/>
            <a:ext cx="11093134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</a:lstStyle>
          <a:p>
            <a:pPr lvl="0"/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ext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327796" y="6579315"/>
            <a:ext cx="28448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1108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601816" y="228818"/>
            <a:ext cx="11160338" cy="647700"/>
          </a:xfrm>
        </p:spPr>
        <p:txBody>
          <a:bodyPr anchor="ctr"/>
          <a:lstStyle>
            <a:lvl1pPr>
              <a:defRPr sz="2462"/>
            </a:lvl1pPr>
          </a:lstStyle>
          <a:p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ítul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60812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Contenidor de títol 1"/>
          <p:cNvSpPr>
            <a:spLocks noGrp="1"/>
          </p:cNvSpPr>
          <p:nvPr>
            <p:ph type="title"/>
          </p:nvPr>
        </p:nvSpPr>
        <p:spPr bwMode="auto">
          <a:xfrm>
            <a:off x="623888" y="573088"/>
            <a:ext cx="11428412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ca-ES"/>
              <a:t>Feu clic aquí per editar l'estil</a:t>
            </a:r>
          </a:p>
        </p:txBody>
      </p:sp>
      <p:sp>
        <p:nvSpPr>
          <p:cNvPr id="1027" name="Contenidor de text 2"/>
          <p:cNvSpPr>
            <a:spLocks noGrp="1"/>
          </p:cNvSpPr>
          <p:nvPr>
            <p:ph type="body" idx="1"/>
          </p:nvPr>
        </p:nvSpPr>
        <p:spPr bwMode="auto">
          <a:xfrm>
            <a:off x="623888" y="1573213"/>
            <a:ext cx="11428412" cy="331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ca-ES"/>
              <a:t>Feu clic aquí per editar estils</a:t>
            </a:r>
          </a:p>
          <a:p>
            <a:pPr lvl="1"/>
            <a:r>
              <a:rPr lang="ca-ES" altLang="ca-ES"/>
              <a:t>Segon nivell</a:t>
            </a:r>
          </a:p>
          <a:p>
            <a:pPr lvl="2"/>
            <a:r>
              <a:rPr lang="ca-ES" altLang="ca-ES"/>
              <a:t>Tercer nivell</a:t>
            </a:r>
          </a:p>
          <a:p>
            <a:pPr lvl="3"/>
            <a:r>
              <a:rPr lang="ca-ES" altLang="ca-ES"/>
              <a:t>Quart nivell</a:t>
            </a:r>
          </a:p>
          <a:p>
            <a:pPr lvl="4"/>
            <a:r>
              <a:rPr lang="ca-ES" altLang="ca-ES"/>
              <a:t>Cinquè nivell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059863" y="635158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solidFill>
                  <a:srgbClr val="898989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F66F854-7804-476B-A646-B8A14DFEB6E4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  <p:cxnSp>
        <p:nvCxnSpPr>
          <p:cNvPr id="8" name="Connector recte 7"/>
          <p:cNvCxnSpPr/>
          <p:nvPr/>
        </p:nvCxnSpPr>
        <p:spPr>
          <a:xfrm>
            <a:off x="623888" y="1073150"/>
            <a:ext cx="111791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Imagen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6118225"/>
            <a:ext cx="25876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7" r:id="rId2"/>
    <p:sldLayoutId id="2147483701" r:id="rId3"/>
    <p:sldLayoutId id="2147483698" r:id="rId4"/>
    <p:sldLayoutId id="2147483699" r:id="rId5"/>
    <p:sldLayoutId id="2147483702" r:id="rId6"/>
    <p:sldLayoutId id="2147483703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9pPr>
    </p:titleStyle>
    <p:bodyStyle>
      <a:lvl1pPr marL="2857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 2" panose="05020102010507070707" pitchFamily="18" charset="2"/>
        <a:buChar char="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slide" Target="slide8.xml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image" Target="../media/image9.png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8.pn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image" Target="../media/image16.png"/><Relationship Id="rId5" Type="http://schemas.openxmlformats.org/officeDocument/2006/relationships/image" Target="../media/image7.png"/><Relationship Id="rId15" Type="http://schemas.openxmlformats.org/officeDocument/2006/relationships/slide" Target="slide8.xml"/><Relationship Id="rId10" Type="http://schemas.openxmlformats.org/officeDocument/2006/relationships/image" Target="../media/image15.png"/><Relationship Id="rId4" Type="http://schemas.openxmlformats.org/officeDocument/2006/relationships/image" Target="../media/image6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chart" Target="../charts/chart4.xml"/><Relationship Id="rId3" Type="http://schemas.openxmlformats.org/officeDocument/2006/relationships/image" Target="../media/image7.png"/><Relationship Id="rId7" Type="http://schemas.openxmlformats.org/officeDocument/2006/relationships/slide" Target="slide8.xml"/><Relationship Id="rId12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chart" Target="../charts/chart2.xml"/><Relationship Id="rId5" Type="http://schemas.openxmlformats.org/officeDocument/2006/relationships/image" Target="../media/image8.png"/><Relationship Id="rId10" Type="http://schemas.openxmlformats.org/officeDocument/2006/relationships/chart" Target="../charts/chart1.xml"/><Relationship Id="rId4" Type="http://schemas.microsoft.com/office/2007/relationships/hdphoto" Target="../media/hdphoto1.wdp"/><Relationship Id="rId9" Type="http://schemas.openxmlformats.org/officeDocument/2006/relationships/image" Target="../media/image14.png"/><Relationship Id="rId1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13.png"/><Relationship Id="rId4" Type="http://schemas.openxmlformats.org/officeDocument/2006/relationships/slide" Target="slide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" y="3384779"/>
            <a:ext cx="12192000" cy="1484381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ca-ES" sz="3446" dirty="0"/>
              <a:t>Informe de Qualitat</a:t>
            </a:r>
            <a:r>
              <a:rPr lang="ca-ES" dirty="0"/>
              <a:t/>
            </a:r>
            <a:br>
              <a:rPr lang="ca-ES" dirty="0"/>
            </a:br>
            <a:r>
              <a:rPr lang="ca-ES" sz="2800" dirty="0"/>
              <a:t>Resum Executiu</a:t>
            </a:r>
            <a:r>
              <a:rPr lang="ca-ES" sz="2462" dirty="0"/>
              <a:t/>
            </a:r>
            <a:br>
              <a:rPr lang="ca-ES" sz="2462" dirty="0"/>
            </a:br>
            <a:r>
              <a:rPr lang="ca-ES" sz="2800" dirty="0" err="1">
                <a:solidFill>
                  <a:schemeClr val="tx1"/>
                </a:solidFill>
              </a:rPr>
              <a:t>xxxx</a:t>
            </a:r>
            <a:r>
              <a:rPr lang="ca-ES" sz="2800" dirty="0">
                <a:solidFill>
                  <a:schemeClr val="tx1"/>
                </a:solidFill>
              </a:rPr>
              <a:t> - </a:t>
            </a:r>
            <a:r>
              <a:rPr lang="ca-ES" sz="2800" dirty="0" err="1">
                <a:solidFill>
                  <a:schemeClr val="tx1"/>
                </a:solidFill>
              </a:rPr>
              <a:t>xxxxxxx</a:t>
            </a:r>
            <a:endParaRPr lang="ca-ES" sz="2462" dirty="0">
              <a:solidFill>
                <a:schemeClr val="tx1"/>
              </a:solidFill>
            </a:endParaRPr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>
          <a:xfrm>
            <a:off x="916800" y="5577765"/>
            <a:ext cx="10363200" cy="763200"/>
          </a:xfrm>
        </p:spPr>
        <p:txBody>
          <a:bodyPr/>
          <a:lstStyle/>
          <a:p>
            <a:r>
              <a:rPr lang="ca-ES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31935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405036"/>
            <a:ext cx="11160338" cy="647700"/>
          </a:xfrm>
        </p:spPr>
        <p:txBody>
          <a:bodyPr/>
          <a:lstStyle/>
          <a:p>
            <a:r>
              <a:rPr lang="ca-ES" dirty="0"/>
              <a:t>Índex</a:t>
            </a:r>
          </a:p>
        </p:txBody>
      </p:sp>
      <p:sp>
        <p:nvSpPr>
          <p:cNvPr id="5" name="Rectángulo 4"/>
          <p:cNvSpPr/>
          <p:nvPr/>
        </p:nvSpPr>
        <p:spPr bwMode="auto">
          <a:xfrm>
            <a:off x="1199456" y="1196752"/>
            <a:ext cx="8542505" cy="52352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4308" tIns="56271" rIns="44308" bIns="56271" numCol="1" rtlCol="0" anchor="t" anchorCtr="0" compatLnSpc="1">
            <a:prstTxWarp prst="textNoShape">
              <a:avLst/>
            </a:prstTxWarp>
          </a:bodyPr>
          <a:lstStyle/>
          <a:p>
            <a:pPr marL="422041" indent="-422041">
              <a:spcBef>
                <a:spcPts val="738"/>
              </a:spcBef>
              <a:spcAft>
                <a:spcPts val="738"/>
              </a:spcAft>
              <a:buFontTx/>
              <a:buAutoNum type="arabicPeriod"/>
            </a:pPr>
            <a:r>
              <a:rPr lang="ca-ES" sz="2000" b="1" kern="0" dirty="0">
                <a:solidFill>
                  <a:srgbClr val="C00000"/>
                </a:solidFill>
                <a:latin typeface="Arial"/>
                <a:ea typeface="+mj-ea"/>
                <a:cs typeface="+mj-cs"/>
              </a:rPr>
              <a:t>Qualitat de la nova versió a publicar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Defectes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Proves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Codi Font</a:t>
            </a:r>
          </a:p>
          <a:p>
            <a:pPr marL="422041" indent="-422041">
              <a:spcBef>
                <a:spcPts val="738"/>
              </a:spcBef>
              <a:spcAft>
                <a:spcPts val="738"/>
              </a:spcAft>
              <a:buFontTx/>
              <a:buAutoNum type="arabicPeriod"/>
            </a:pPr>
            <a:r>
              <a:rPr lang="ca-ES" sz="2000" b="1" kern="0" dirty="0">
                <a:solidFill>
                  <a:srgbClr val="C00000"/>
                </a:solidFill>
                <a:latin typeface="Arial"/>
                <a:ea typeface="+mj-ea"/>
                <a:cs typeface="+mj-cs"/>
              </a:rPr>
              <a:t>Detall estat qualitat nova versió a publicar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Defectes oberts més importants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Transaccions menys eficients en rendiment</a:t>
            </a:r>
          </a:p>
          <a:p>
            <a:pPr marL="422041" indent="-422041">
              <a:spcBef>
                <a:spcPts val="738"/>
              </a:spcBef>
              <a:spcAft>
                <a:spcPts val="738"/>
              </a:spcAft>
              <a:buFontTx/>
              <a:buAutoNum type="arabicPeriod"/>
            </a:pPr>
            <a:r>
              <a:rPr lang="es-ES" sz="2000" b="1" kern="0" dirty="0" err="1">
                <a:solidFill>
                  <a:srgbClr val="C00000"/>
                </a:solidFill>
                <a:latin typeface="Arial"/>
              </a:rPr>
              <a:t>Criteris</a:t>
            </a:r>
            <a:r>
              <a:rPr lang="es-ES" sz="2000" b="1" kern="0" dirty="0">
                <a:solidFill>
                  <a:srgbClr val="C00000"/>
                </a:solidFill>
                <a:latin typeface="Arial"/>
              </a:rPr>
              <a:t> </a:t>
            </a:r>
            <a:r>
              <a:rPr lang="es-ES" sz="2000" b="1" kern="0" dirty="0" err="1">
                <a:solidFill>
                  <a:srgbClr val="C00000"/>
                </a:solidFill>
                <a:latin typeface="Arial"/>
              </a:rPr>
              <a:t>d'acceptació</a:t>
            </a:r>
            <a:r>
              <a:rPr lang="es-ES" sz="2000" b="1" kern="0" dirty="0">
                <a:solidFill>
                  <a:srgbClr val="C00000"/>
                </a:solidFill>
                <a:latin typeface="Arial"/>
              </a:rPr>
              <a:t> de la pujada a </a:t>
            </a:r>
            <a:r>
              <a:rPr lang="es-ES" sz="2000" b="1" kern="0" dirty="0" err="1">
                <a:solidFill>
                  <a:srgbClr val="C00000"/>
                </a:solidFill>
                <a:latin typeface="Arial"/>
              </a:rPr>
              <a:t>Producció</a:t>
            </a:r>
            <a:endParaRPr lang="es-ES" sz="2000" b="1" kern="0" dirty="0">
              <a:solidFill>
                <a:srgbClr val="C00000"/>
              </a:solidFill>
              <a:latin typeface="Arial"/>
            </a:endParaRPr>
          </a:p>
          <a:p>
            <a:pPr marL="527563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endParaRPr lang="ca-ES" sz="1600" b="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693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3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47170"/>
            <a:ext cx="11160338" cy="699746"/>
          </a:xfrm>
        </p:spPr>
        <p:txBody>
          <a:bodyPr/>
          <a:lstStyle/>
          <a:p>
            <a:pPr marL="357188" indent="-357188"/>
            <a:r>
              <a:rPr lang="ca-ES" dirty="0"/>
              <a:t>1. Qualitat de la nova versió a publicar</a:t>
            </a:r>
            <a:br>
              <a:rPr lang="ca-ES" dirty="0"/>
            </a:br>
            <a:r>
              <a:rPr lang="ca-ES" sz="2215" dirty="0"/>
              <a:t>Defectes				</a:t>
            </a:r>
            <a:endParaRPr lang="ca-ES" sz="1000" dirty="0"/>
          </a:p>
        </p:txBody>
      </p:sp>
      <p:pic>
        <p:nvPicPr>
          <p:cNvPr id="40" name="Imat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10" y="1217862"/>
            <a:ext cx="368238" cy="368238"/>
          </a:xfrm>
          <a:prstGeom prst="rect">
            <a:avLst/>
          </a:prstGeom>
        </p:spPr>
      </p:pic>
      <p:grpSp>
        <p:nvGrpSpPr>
          <p:cNvPr id="7" name="Grupo 6">
            <a:extLst>
              <a:ext uri="{FF2B5EF4-FFF2-40B4-BE49-F238E27FC236}">
                <a16:creationId xmlns:a16="http://schemas.microsoft.com/office/drawing/2014/main" id="{3F39EAB6-6C40-410B-B271-E6388B189C8F}"/>
              </a:ext>
            </a:extLst>
          </p:cNvPr>
          <p:cNvGrpSpPr/>
          <p:nvPr/>
        </p:nvGrpSpPr>
        <p:grpSpPr>
          <a:xfrm>
            <a:off x="767408" y="1158981"/>
            <a:ext cx="2926360" cy="486000"/>
            <a:chOff x="4825824" y="1158981"/>
            <a:chExt cx="2926360" cy="486000"/>
          </a:xfrm>
        </p:grpSpPr>
        <p:sp>
          <p:nvSpPr>
            <p:cNvPr id="41" name="Rectangle 8"/>
            <p:cNvSpPr/>
            <p:nvPr/>
          </p:nvSpPr>
          <p:spPr>
            <a:xfrm>
              <a:off x="4825824" y="1158981"/>
              <a:ext cx="2926360" cy="486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96000" bIns="0" rtlCol="0" anchor="b" anchorCtr="0"/>
            <a:lstStyle/>
            <a:p>
              <a:pPr lvl="0" algn="ctr"/>
              <a:r>
                <a:rPr lang="ca-ES" sz="14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4</a:t>
              </a:r>
              <a:r>
                <a:rPr lang="ca-ES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 </a:t>
              </a:r>
              <a:r>
                <a:rPr lang="ca-ES" sz="105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defectes pendents de correcció</a:t>
              </a:r>
              <a:endParaRPr lang="ca-ES" sz="1400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  <a:p>
              <a:pPr lvl="0" algn="ctr">
                <a:spcBef>
                  <a:spcPts val="0"/>
                </a:spcBef>
              </a:pPr>
              <a:r>
                <a:rPr lang="ca-ES" sz="105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7 defectes detectats</a:t>
              </a:r>
            </a:p>
            <a:p>
              <a:pPr lvl="0" algn="r">
                <a:spcBef>
                  <a:spcPts val="0"/>
                </a:spcBef>
                <a:spcAft>
                  <a:spcPts val="0"/>
                </a:spcAft>
              </a:pP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Darrera actualització: </a:t>
              </a:r>
              <a:r>
                <a:rPr lang="ca-ES" sz="700" b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dd</a:t>
              </a: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/mm/</a:t>
              </a:r>
              <a:r>
                <a:rPr lang="ca-ES" sz="700" b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aaaa</a:t>
              </a:r>
              <a:endParaRPr lang="ca-ES" sz="700" b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2" name="Imatge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1330" y="1240318"/>
              <a:ext cx="352870" cy="323326"/>
            </a:xfrm>
            <a:prstGeom prst="rect">
              <a:avLst/>
            </a:prstGeom>
          </p:spPr>
        </p:pic>
      </p:grpSp>
      <p:sp>
        <p:nvSpPr>
          <p:cNvPr id="68" name="Rectángulo 135"/>
          <p:cNvSpPr/>
          <p:nvPr/>
        </p:nvSpPr>
        <p:spPr bwMode="auto">
          <a:xfrm>
            <a:off x="9137082" y="6598309"/>
            <a:ext cx="1329848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Llindar d’acceptació  </a:t>
            </a:r>
            <a:r>
              <a:rPr lang="ca-ES" sz="700" dirty="0"/>
              <a:t>–</a:t>
            </a:r>
            <a:endParaRPr kumimoji="0" lang="ca-ES" sz="80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pic>
        <p:nvPicPr>
          <p:cNvPr id="86" name="Imagen 8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748078" y="6643667"/>
            <a:ext cx="144000" cy="144000"/>
          </a:xfrm>
          <a:prstGeom prst="rect">
            <a:avLst/>
          </a:prstGeom>
        </p:spPr>
      </p:pic>
      <p:sp>
        <p:nvSpPr>
          <p:cNvPr id="88" name="Rectángulo 135"/>
          <p:cNvSpPr/>
          <p:nvPr/>
        </p:nvSpPr>
        <p:spPr bwMode="auto">
          <a:xfrm>
            <a:off x="10387346" y="6598309"/>
            <a:ext cx="540595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Rectángulo 135"/>
          <p:cNvSpPr/>
          <p:nvPr/>
        </p:nvSpPr>
        <p:spPr bwMode="auto">
          <a:xfrm>
            <a:off x="10868026" y="6598309"/>
            <a:ext cx="539467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No 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8" name="Rectángulo 107"/>
          <p:cNvSpPr/>
          <p:nvPr/>
        </p:nvSpPr>
        <p:spPr>
          <a:xfrm>
            <a:off x="7223568" y="6597352"/>
            <a:ext cx="1298761" cy="2154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Aspectes  de millora</a:t>
            </a:r>
          </a:p>
        </p:txBody>
      </p:sp>
      <p:cxnSp>
        <p:nvCxnSpPr>
          <p:cNvPr id="109" name="Conector recto 108"/>
          <p:cNvCxnSpPr/>
          <p:nvPr/>
        </p:nvCxnSpPr>
        <p:spPr>
          <a:xfrm>
            <a:off x="8243540" y="6710398"/>
            <a:ext cx="576064" cy="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cto 111"/>
          <p:cNvCxnSpPr/>
          <p:nvPr/>
        </p:nvCxnSpPr>
        <p:spPr bwMode="auto">
          <a:xfrm flipH="1">
            <a:off x="6960096" y="6591002"/>
            <a:ext cx="433963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000000">
                    <a:lumMod val="0"/>
                    <a:lumOff val="100000"/>
                  </a:srgbClr>
                </a:gs>
                <a:gs pos="12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100000"/>
                  </a:srgbClr>
                </a:gs>
              </a:gsLst>
              <a:lin ang="10800000" scaled="1"/>
              <a:tileRect/>
            </a:gra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29" name="Imagen 128"/>
          <p:cNvPicPr>
            <a:picLocks noChangeAspect="1"/>
          </p:cNvPicPr>
          <p:nvPr/>
        </p:nvPicPr>
        <p:blipFill>
          <a:blip r:embed="rId7">
            <a:duotone>
              <a:srgbClr val="8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633" l="7227" r="92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43346" y="6638954"/>
            <a:ext cx="144000" cy="144000"/>
          </a:xfrm>
          <a:prstGeom prst="rect">
            <a:avLst/>
          </a:prstGeom>
        </p:spPr>
      </p:pic>
      <p:sp>
        <p:nvSpPr>
          <p:cNvPr id="96" name="Rectángulo 95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65" name="QuadreDeText 48"/>
          <p:cNvSpPr txBox="1"/>
          <p:nvPr/>
        </p:nvSpPr>
        <p:spPr>
          <a:xfrm>
            <a:off x="4097695" y="6442951"/>
            <a:ext cx="4272685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750" b="1" dirty="0">
                <a:solidFill>
                  <a:srgbClr val="9E0000"/>
                </a:solidFill>
              </a:rPr>
              <a:t>Severitat</a:t>
            </a:r>
            <a:r>
              <a:rPr lang="ca-ES" sz="750" b="1" dirty="0">
                <a:solidFill>
                  <a:srgbClr val="C00000"/>
                </a:solidFill>
              </a:rPr>
              <a:t> </a:t>
            </a:r>
            <a:r>
              <a:rPr lang="ca-ES" sz="750" b="1" dirty="0"/>
              <a:t>– </a:t>
            </a:r>
            <a:r>
              <a:rPr lang="ca-ES" sz="750" b="0" dirty="0" err="1"/>
              <a:t>Critical</a:t>
            </a:r>
            <a:r>
              <a:rPr lang="ca-ES" sz="750" b="0" dirty="0"/>
              <a:t> ,</a:t>
            </a:r>
            <a:r>
              <a:rPr lang="ca-ES" sz="750" dirty="0"/>
              <a:t> </a:t>
            </a:r>
            <a:r>
              <a:rPr lang="ca-ES" sz="750" b="0" dirty="0" err="1"/>
              <a:t>Very</a:t>
            </a:r>
            <a:r>
              <a:rPr lang="ca-ES" sz="750" b="0" dirty="0"/>
              <a:t> </a:t>
            </a:r>
            <a:r>
              <a:rPr lang="ca-ES" sz="750" b="0" dirty="0" err="1"/>
              <a:t>High</a:t>
            </a:r>
            <a:r>
              <a:rPr lang="ca-ES" sz="750" dirty="0"/>
              <a:t> , </a:t>
            </a:r>
            <a:r>
              <a:rPr lang="ca-ES" sz="750" b="0" dirty="0" err="1"/>
              <a:t>High</a:t>
            </a:r>
            <a:r>
              <a:rPr lang="ca-ES" sz="750" b="0" dirty="0"/>
              <a:t> ,</a:t>
            </a:r>
            <a:r>
              <a:rPr lang="ca-ES" sz="750" dirty="0"/>
              <a:t> </a:t>
            </a:r>
            <a:r>
              <a:rPr lang="ca-ES" sz="750" b="0" dirty="0" err="1"/>
              <a:t>Medium</a:t>
            </a:r>
            <a:r>
              <a:rPr lang="ca-ES" sz="750" dirty="0"/>
              <a:t>  , </a:t>
            </a:r>
            <a:r>
              <a:rPr lang="ca-ES" sz="750" b="0" dirty="0" err="1"/>
              <a:t>Low</a:t>
            </a:r>
            <a:endParaRPr lang="ca-ES" sz="750" b="0" dirty="0"/>
          </a:p>
        </p:txBody>
      </p:sp>
      <p:pic>
        <p:nvPicPr>
          <p:cNvPr id="5" name="Imagen 4" descr="Captura de pantalla de un celular con texto e imagen&#10;&#10;Descripción generada automáticamente">
            <a:extLst>
              <a:ext uri="{FF2B5EF4-FFF2-40B4-BE49-F238E27FC236}">
                <a16:creationId xmlns:a16="http://schemas.microsoft.com/office/drawing/2014/main" id="{8D228B69-6C88-4048-843B-4C3CA5C758A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99"/>
          <a:stretch/>
        </p:blipFill>
        <p:spPr>
          <a:xfrm>
            <a:off x="761767" y="1685924"/>
            <a:ext cx="5186971" cy="2138400"/>
          </a:xfrm>
          <a:prstGeom prst="rect">
            <a:avLst/>
          </a:prstGeom>
        </p:spPr>
      </p:pic>
      <p:grpSp>
        <p:nvGrpSpPr>
          <p:cNvPr id="115" name="Grupo 114">
            <a:extLst>
              <a:ext uri="{FF2B5EF4-FFF2-40B4-BE49-F238E27FC236}">
                <a16:creationId xmlns:a16="http://schemas.microsoft.com/office/drawing/2014/main" id="{E2348D65-35C6-453E-BCD4-45F3921FD0D9}"/>
              </a:ext>
            </a:extLst>
          </p:cNvPr>
          <p:cNvGrpSpPr/>
          <p:nvPr/>
        </p:nvGrpSpPr>
        <p:grpSpPr>
          <a:xfrm>
            <a:off x="4071383" y="2711815"/>
            <a:ext cx="1880601" cy="400110"/>
            <a:chOff x="526161" y="3015448"/>
            <a:chExt cx="1880601" cy="400110"/>
          </a:xfrm>
        </p:grpSpPr>
        <p:sp>
          <p:nvSpPr>
            <p:cNvPr id="116" name="QuadreDeText 48">
              <a:extLst>
                <a:ext uri="{FF2B5EF4-FFF2-40B4-BE49-F238E27FC236}">
                  <a16:creationId xmlns:a16="http://schemas.microsoft.com/office/drawing/2014/main" id="{11040E3A-9504-4C5A-81CD-02CB68DDC997}"/>
                </a:ext>
              </a:extLst>
            </p:cNvPr>
            <p:cNvSpPr txBox="1"/>
            <p:nvPr/>
          </p:nvSpPr>
          <p:spPr>
            <a:xfrm>
              <a:off x="526308" y="3015448"/>
              <a:ext cx="1871884" cy="400110"/>
            </a:xfrm>
            <a:prstGeom prst="rect">
              <a:avLst/>
            </a:prstGeom>
            <a:noFill/>
          </p:spPr>
          <p:txBody>
            <a:bodyPr wrap="square" lIns="0" rIns="0" numCol="1" rtlCol="0">
              <a:spAutoFit/>
            </a:bodyPr>
            <a:lstStyle/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  <a:latin typeface="+mj-lt"/>
                  <a:cs typeface="+mn-cs"/>
                </a:rPr>
                <a:t>6</a:t>
              </a:r>
              <a:r>
                <a:rPr lang="ca-ES" sz="900" b="1" i="1" dirty="0">
                  <a:solidFill>
                    <a:srgbClr val="800000"/>
                  </a:solidFill>
                  <a:latin typeface="+mj-lt"/>
                  <a:cs typeface="+mn-cs"/>
                </a:rPr>
                <a:t> 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defectes oberts proves qualificació</a:t>
              </a:r>
            </a:p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</a:rPr>
                <a:t>6 </a:t>
              </a:r>
              <a:r>
                <a:rPr lang="ca-ES" sz="1000" dirty="0"/>
                <a:t>+ </a:t>
              </a:r>
              <a:r>
                <a:rPr lang="ca-ES" sz="1000" b="1" dirty="0">
                  <a:solidFill>
                    <a:srgbClr val="800000"/>
                  </a:solidFill>
                </a:rPr>
                <a:t>1 </a:t>
              </a:r>
              <a:r>
                <a:rPr lang="ca-ES" sz="800" dirty="0">
                  <a:solidFill>
                    <a:srgbClr val="000000"/>
                  </a:solidFill>
                </a:rPr>
                <a:t>defectes oberts proves Acceptació</a:t>
              </a:r>
            </a:p>
          </p:txBody>
        </p:sp>
        <p:cxnSp>
          <p:nvCxnSpPr>
            <p:cNvPr id="117" name="Conector recto 116">
              <a:extLst>
                <a:ext uri="{FF2B5EF4-FFF2-40B4-BE49-F238E27FC236}">
                  <a16:creationId xmlns:a16="http://schemas.microsoft.com/office/drawing/2014/main" id="{787B6E38-9B4F-4D49-989F-1AF48D455539}"/>
                </a:ext>
              </a:extLst>
            </p:cNvPr>
            <p:cNvCxnSpPr/>
            <p:nvPr/>
          </p:nvCxnSpPr>
          <p:spPr>
            <a:xfrm flipH="1">
              <a:off x="526161" y="3215503"/>
              <a:ext cx="1880601" cy="0"/>
            </a:xfrm>
            <a:prstGeom prst="line">
              <a:avLst/>
            </a:prstGeom>
            <a:ln w="63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BE9C4C32-77AA-4D43-B1FE-78832E450E69}"/>
              </a:ext>
            </a:extLst>
          </p:cNvPr>
          <p:cNvGrpSpPr/>
          <p:nvPr/>
        </p:nvGrpSpPr>
        <p:grpSpPr>
          <a:xfrm>
            <a:off x="2855641" y="1709517"/>
            <a:ext cx="549738" cy="230832"/>
            <a:chOff x="2855641" y="1709517"/>
            <a:chExt cx="549738" cy="230832"/>
          </a:xfrm>
        </p:grpSpPr>
        <p:pic>
          <p:nvPicPr>
            <p:cNvPr id="120" name="Imagen 119">
              <a:extLst>
                <a:ext uri="{FF2B5EF4-FFF2-40B4-BE49-F238E27FC236}">
                  <a16:creationId xmlns:a16="http://schemas.microsoft.com/office/drawing/2014/main" id="{BFC2B669-CA85-4926-99E3-121083C69C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800000">
              <a:off x="2855641" y="1764707"/>
              <a:ext cx="144000" cy="144000"/>
            </a:xfrm>
            <a:prstGeom prst="rect">
              <a:avLst/>
            </a:prstGeom>
          </p:spPr>
        </p:pic>
        <p:sp>
          <p:nvSpPr>
            <p:cNvPr id="125" name="CuadroTexto 124">
              <a:extLst>
                <a:ext uri="{FF2B5EF4-FFF2-40B4-BE49-F238E27FC236}">
                  <a16:creationId xmlns:a16="http://schemas.microsoft.com/office/drawing/2014/main" id="{6273911A-A559-45A1-9129-BCF4AFD64B62}"/>
                </a:ext>
              </a:extLst>
            </p:cNvPr>
            <p:cNvSpPr txBox="1"/>
            <p:nvPr/>
          </p:nvSpPr>
          <p:spPr>
            <a:xfrm>
              <a:off x="3025950" y="1709517"/>
              <a:ext cx="379429" cy="230832"/>
            </a:xfrm>
            <a:prstGeom prst="rect">
              <a:avLst/>
            </a:prstGeom>
            <a:noFill/>
          </p:spPr>
          <p:txBody>
            <a:bodyPr wrap="square" lIns="36000" rIns="0" rtlCol="0">
              <a:spAutoFit/>
            </a:bodyPr>
            <a:lstStyle/>
            <a:p>
              <a:r>
                <a:rPr lang="ca-ES" sz="900" b="1" dirty="0">
                  <a:latin typeface="Arial" panose="020B0604020202020204" pitchFamily="34" charset="0"/>
                </a:rPr>
                <a:t>&lt; 80%</a:t>
              </a:r>
            </a:p>
          </p:txBody>
        </p:sp>
      </p:grpSp>
      <p:sp>
        <p:nvSpPr>
          <p:cNvPr id="94" name="Elipse 93"/>
          <p:cNvSpPr/>
          <p:nvPr/>
        </p:nvSpPr>
        <p:spPr bwMode="auto">
          <a:xfrm>
            <a:off x="2881112" y="2546658"/>
            <a:ext cx="907535" cy="926650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1500" b="1" kern="0" dirty="0">
                <a:solidFill>
                  <a:srgbClr val="800000"/>
                </a:solidFill>
                <a:latin typeface="Arial" charset="0"/>
                <a:cs typeface="+mn-cs"/>
              </a:rPr>
              <a:t>86</a:t>
            </a:r>
            <a:r>
              <a:rPr kumimoji="0" lang="ca-ES" sz="15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charset="0"/>
                <a:cs typeface="+mn-cs"/>
              </a:rPr>
              <a:t>%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PDDq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Percentatge de detecció de defectes en qualificació</a:t>
            </a:r>
          </a:p>
        </p:txBody>
      </p:sp>
      <p:pic>
        <p:nvPicPr>
          <p:cNvPr id="8" name="Imagen 7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7E655ECF-66A5-498D-8061-1BB7A81FEE0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73"/>
          <a:stretch/>
        </p:blipFill>
        <p:spPr>
          <a:xfrm>
            <a:off x="787811" y="3808659"/>
            <a:ext cx="5331102" cy="2138400"/>
          </a:xfrm>
          <a:prstGeom prst="rect">
            <a:avLst/>
          </a:prstGeom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C06ACFF0-83B8-4100-A387-5C26010125A3}"/>
              </a:ext>
            </a:extLst>
          </p:cNvPr>
          <p:cNvGrpSpPr/>
          <p:nvPr/>
        </p:nvGrpSpPr>
        <p:grpSpPr>
          <a:xfrm>
            <a:off x="3779047" y="3846240"/>
            <a:ext cx="516753" cy="230832"/>
            <a:chOff x="3575736" y="3808659"/>
            <a:chExt cx="516753" cy="230832"/>
          </a:xfrm>
        </p:grpSpPr>
        <p:pic>
          <p:nvPicPr>
            <p:cNvPr id="121" name="Imagen 120">
              <a:extLst>
                <a:ext uri="{FF2B5EF4-FFF2-40B4-BE49-F238E27FC236}">
                  <a16:creationId xmlns:a16="http://schemas.microsoft.com/office/drawing/2014/main" id="{15B93081-96BA-4FE8-A03D-F70DEDDEE5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800000">
              <a:off x="3575736" y="3861063"/>
              <a:ext cx="144000" cy="144000"/>
            </a:xfrm>
            <a:prstGeom prst="rect">
              <a:avLst/>
            </a:prstGeom>
          </p:spPr>
        </p:pic>
        <p:sp>
          <p:nvSpPr>
            <p:cNvPr id="130" name="CuadroTexto 129">
              <a:extLst>
                <a:ext uri="{FF2B5EF4-FFF2-40B4-BE49-F238E27FC236}">
                  <a16:creationId xmlns:a16="http://schemas.microsoft.com/office/drawing/2014/main" id="{10A07B50-976D-4C57-A3A0-19B429308CE9}"/>
                </a:ext>
              </a:extLst>
            </p:cNvPr>
            <p:cNvSpPr txBox="1"/>
            <p:nvPr/>
          </p:nvSpPr>
          <p:spPr>
            <a:xfrm>
              <a:off x="3747582" y="3808659"/>
              <a:ext cx="344907" cy="230832"/>
            </a:xfrm>
            <a:prstGeom prst="rect">
              <a:avLst/>
            </a:prstGeom>
            <a:noFill/>
          </p:spPr>
          <p:txBody>
            <a:bodyPr wrap="square" lIns="36000" rIns="0" rtlCol="0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ca-ES" sz="900" b="1" dirty="0">
                  <a:solidFill>
                    <a:srgbClr val="000000"/>
                  </a:solidFill>
                  <a:latin typeface="Arial" panose="020B0604020202020204" pitchFamily="34" charset="0"/>
                  <a:cs typeface="+mn-cs"/>
                </a:rPr>
                <a:t>&gt; 0%</a:t>
              </a:r>
            </a:p>
          </p:txBody>
        </p:sp>
      </p:grpSp>
      <p:sp>
        <p:nvSpPr>
          <p:cNvPr id="118" name="Shape 170">
            <a:extLst>
              <a:ext uri="{FF2B5EF4-FFF2-40B4-BE49-F238E27FC236}">
                <a16:creationId xmlns:a16="http://schemas.microsoft.com/office/drawing/2014/main" id="{50313513-3CDA-46E8-9D19-B530703069EB}"/>
              </a:ext>
            </a:extLst>
          </p:cNvPr>
          <p:cNvSpPr/>
          <p:nvPr/>
        </p:nvSpPr>
        <p:spPr>
          <a:xfrm>
            <a:off x="3025783" y="4733529"/>
            <a:ext cx="858595" cy="820875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ca-ES" b="1" dirty="0">
                <a:solidFill>
                  <a:srgbClr val="9A0000"/>
                </a:solidFill>
              </a:rPr>
              <a:t>75%</a:t>
            </a:r>
          </a:p>
          <a:p>
            <a:pPr algn="ctr"/>
            <a:r>
              <a:rPr lang="ca-ES" sz="700" b="1" dirty="0" err="1">
                <a:latin typeface="Arial" panose="020B0604020202020204" pitchFamily="34" charset="0"/>
                <a:cs typeface="Arial" panose="020B0604020202020204" pitchFamily="34" charset="0"/>
              </a:rPr>
              <a:t>Critical</a:t>
            </a:r>
            <a:endParaRPr lang="ca-E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a-ES" sz="7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700" b="1" dirty="0" err="1">
                <a:latin typeface="Arial" panose="020B0604020202020204" pitchFamily="34" charset="0"/>
                <a:cs typeface="Arial" panose="020B0604020202020204" pitchFamily="34" charset="0"/>
              </a:rPr>
              <a:t>Very</a:t>
            </a:r>
            <a:r>
              <a:rPr lang="ca-ES" sz="7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700" b="1" dirty="0" err="1">
                <a:latin typeface="Arial" panose="020B0604020202020204" pitchFamily="34" charset="0"/>
                <a:cs typeface="Arial" panose="020B0604020202020204" pitchFamily="34" charset="0"/>
              </a:rPr>
              <a:t>High</a:t>
            </a:r>
            <a:endParaRPr lang="ca-E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9D30A4D-AB83-495C-BDA8-59345B5220DC}"/>
              </a:ext>
            </a:extLst>
          </p:cNvPr>
          <p:cNvGrpSpPr/>
          <p:nvPr/>
        </p:nvGrpSpPr>
        <p:grpSpPr>
          <a:xfrm>
            <a:off x="4138298" y="4888408"/>
            <a:ext cx="2029710" cy="400110"/>
            <a:chOff x="6141133" y="2838824"/>
            <a:chExt cx="2029710" cy="400110"/>
          </a:xfrm>
        </p:grpSpPr>
        <p:sp>
          <p:nvSpPr>
            <p:cNvPr id="132" name="QuadreDeText 48">
              <a:extLst>
                <a:ext uri="{FF2B5EF4-FFF2-40B4-BE49-F238E27FC236}">
                  <a16:creationId xmlns:a16="http://schemas.microsoft.com/office/drawing/2014/main" id="{53081374-E9BE-4DD2-83F9-2CA5DB828291}"/>
                </a:ext>
              </a:extLst>
            </p:cNvPr>
            <p:cNvSpPr txBox="1"/>
            <p:nvPr/>
          </p:nvSpPr>
          <p:spPr>
            <a:xfrm>
              <a:off x="6141133" y="2838824"/>
              <a:ext cx="2029710" cy="400110"/>
            </a:xfrm>
            <a:prstGeom prst="rect">
              <a:avLst/>
            </a:prstGeom>
            <a:noFill/>
          </p:spPr>
          <p:txBody>
            <a:bodyPr wrap="square" lIns="0" rIns="0" numCol="1" rtlCol="0">
              <a:spAutoFit/>
            </a:bodyPr>
            <a:lstStyle/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i="1" dirty="0">
                  <a:solidFill>
                    <a:srgbClr val="800000"/>
                  </a:solidFill>
                  <a:latin typeface="+mj-lt"/>
                  <a:cs typeface="+mn-cs"/>
                </a:rPr>
                <a:t>3</a:t>
              </a:r>
              <a:r>
                <a:rPr lang="ca-ES" sz="900" b="1" i="1" dirty="0">
                  <a:solidFill>
                    <a:srgbClr val="800000"/>
                  </a:solidFill>
                  <a:latin typeface="+mj-lt"/>
                  <a:cs typeface="+mn-cs"/>
                </a:rPr>
                <a:t> 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defectes oberts </a:t>
              </a:r>
              <a:r>
                <a:rPr lang="ca-ES" sz="800" dirty="0" err="1">
                  <a:solidFill>
                    <a:srgbClr val="000000"/>
                  </a:solidFill>
                  <a:latin typeface="+mj-lt"/>
                  <a:cs typeface="+mn-cs"/>
                </a:rPr>
                <a:t>Critical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/</a:t>
              </a:r>
              <a:r>
                <a:rPr lang="ca-ES" sz="800" dirty="0" err="1">
                  <a:solidFill>
                    <a:srgbClr val="000000"/>
                  </a:solidFill>
                  <a:latin typeface="+mj-lt"/>
                  <a:cs typeface="+mn-cs"/>
                </a:rPr>
                <a:t>Very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 </a:t>
              </a:r>
              <a:r>
                <a:rPr lang="ca-ES" sz="800" dirty="0" err="1">
                  <a:solidFill>
                    <a:srgbClr val="000000"/>
                  </a:solidFill>
                  <a:latin typeface="+mj-lt"/>
                  <a:cs typeface="+mn-cs"/>
                </a:rPr>
                <a:t>High</a:t>
              </a:r>
              <a:endParaRPr lang="ca-ES" sz="800" dirty="0">
                <a:solidFill>
                  <a:srgbClr val="000000"/>
                </a:solidFill>
                <a:latin typeface="+mj-lt"/>
                <a:cs typeface="+mn-cs"/>
              </a:endParaRPr>
            </a:p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</a:rPr>
                <a:t>4 </a:t>
              </a:r>
              <a:r>
                <a:rPr lang="ca-ES" sz="800" dirty="0">
                  <a:solidFill>
                    <a:srgbClr val="000000"/>
                  </a:solidFill>
                </a:rPr>
                <a:t>defectes oberts totals</a:t>
              </a:r>
            </a:p>
          </p:txBody>
        </p:sp>
        <p:cxnSp>
          <p:nvCxnSpPr>
            <p:cNvPr id="133" name="Conector recto 132">
              <a:extLst>
                <a:ext uri="{FF2B5EF4-FFF2-40B4-BE49-F238E27FC236}">
                  <a16:creationId xmlns:a16="http://schemas.microsoft.com/office/drawing/2014/main" id="{36EE254C-39D5-4807-9E17-B0DE0897DA36}"/>
                </a:ext>
              </a:extLst>
            </p:cNvPr>
            <p:cNvCxnSpPr/>
            <p:nvPr/>
          </p:nvCxnSpPr>
          <p:spPr>
            <a:xfrm flipH="1">
              <a:off x="6298635" y="3041369"/>
              <a:ext cx="1692000" cy="0"/>
            </a:xfrm>
            <a:prstGeom prst="line">
              <a:avLst/>
            </a:prstGeom>
            <a:ln w="63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0" name="Proceso 79"/>
          <p:cNvSpPr/>
          <p:nvPr/>
        </p:nvSpPr>
        <p:spPr>
          <a:xfrm>
            <a:off x="3021809" y="4720255"/>
            <a:ext cx="804831" cy="820875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12" name="Imagen 11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990C0BA4-872E-495C-8BC8-B0B91CA516F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64"/>
          <a:stretch/>
        </p:blipFill>
        <p:spPr>
          <a:xfrm>
            <a:off x="6589701" y="1667815"/>
            <a:ext cx="5121026" cy="2088000"/>
          </a:xfrm>
          <a:prstGeom prst="rect">
            <a:avLst/>
          </a:prstGeom>
        </p:spPr>
      </p:pic>
      <p:pic>
        <p:nvPicPr>
          <p:cNvPr id="14" name="Imagen 13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CF33D096-C151-4A7C-93E4-6FEC409B043F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61"/>
          <a:stretch/>
        </p:blipFill>
        <p:spPr>
          <a:xfrm>
            <a:off x="6589701" y="3844408"/>
            <a:ext cx="5132640" cy="2088000"/>
          </a:xfrm>
          <a:prstGeom prst="rect">
            <a:avLst/>
          </a:prstGeom>
        </p:spPr>
      </p:pic>
      <p:pic>
        <p:nvPicPr>
          <p:cNvPr id="39" name="Imagen 38">
            <a:hlinkClick r:id="rId13" action="ppaction://hlinksldjump"/>
            <a:extLst>
              <a:ext uri="{FF2B5EF4-FFF2-40B4-BE49-F238E27FC236}">
                <a16:creationId xmlns:a16="http://schemas.microsoft.com/office/drawing/2014/main" id="{ABF65F05-B522-48E8-B69C-46709202049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17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47170"/>
            <a:ext cx="11160338" cy="699746"/>
          </a:xfrm>
        </p:spPr>
        <p:txBody>
          <a:bodyPr/>
          <a:lstStyle/>
          <a:p>
            <a:pPr marL="357188" indent="-357188"/>
            <a:r>
              <a:rPr lang="ca-ES" dirty="0"/>
              <a:t>1. Qualitat de la nova versió a publicar</a:t>
            </a:r>
            <a:br>
              <a:rPr lang="ca-ES" dirty="0"/>
            </a:br>
            <a:r>
              <a:rPr lang="ca-ES" sz="2215" dirty="0"/>
              <a:t>Proves				</a:t>
            </a:r>
            <a:endParaRPr lang="ca-ES" sz="10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29939206-8F22-4BF1-ACCD-B3876566A7F7}"/>
              </a:ext>
            </a:extLst>
          </p:cNvPr>
          <p:cNvGrpSpPr/>
          <p:nvPr/>
        </p:nvGrpSpPr>
        <p:grpSpPr>
          <a:xfrm>
            <a:off x="635132" y="1158981"/>
            <a:ext cx="3428106" cy="486000"/>
            <a:chOff x="635132" y="1158981"/>
            <a:chExt cx="3428106" cy="486000"/>
          </a:xfrm>
        </p:grpSpPr>
        <p:sp>
          <p:nvSpPr>
            <p:cNvPr id="39" name="Rectangle 2"/>
            <p:cNvSpPr/>
            <p:nvPr/>
          </p:nvSpPr>
          <p:spPr>
            <a:xfrm>
              <a:off x="635132" y="1158981"/>
              <a:ext cx="3428106" cy="486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bIns="0" rtlCol="0" anchor="b" anchorCtr="0"/>
            <a:lstStyle/>
            <a:p>
              <a:pPr lvl="0" algn="ctr"/>
              <a:r>
                <a:rPr lang="ca-ES" sz="14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8</a:t>
              </a:r>
            </a:p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ca-ES" sz="11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casos de prova</a:t>
              </a:r>
            </a:p>
            <a:p>
              <a:pPr lvl="0" algn="r">
                <a:spcBef>
                  <a:spcPts val="0"/>
                </a:spcBef>
                <a:spcAft>
                  <a:spcPts val="0"/>
                </a:spcAft>
              </a:pP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Darrera actualització: </a:t>
              </a:r>
              <a:r>
                <a:rPr lang="ca-ES" sz="70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dd</a:t>
              </a: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/mm/</a:t>
              </a:r>
              <a:r>
                <a:rPr lang="ca-ES" sz="700" b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aaaa</a:t>
              </a:r>
              <a:endParaRPr lang="ca-ES" sz="700" b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0" name="Imatg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9210" y="1217862"/>
              <a:ext cx="368238" cy="368238"/>
            </a:xfrm>
            <a:prstGeom prst="rect">
              <a:avLst/>
            </a:prstGeom>
          </p:spPr>
        </p:pic>
      </p:grpSp>
      <p:pic>
        <p:nvPicPr>
          <p:cNvPr id="42" name="Imatg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330" y="1240318"/>
            <a:ext cx="352870" cy="323326"/>
          </a:xfrm>
          <a:prstGeom prst="rect">
            <a:avLst/>
          </a:prstGeom>
        </p:spPr>
      </p:pic>
      <p:sp>
        <p:nvSpPr>
          <p:cNvPr id="68" name="Rectángulo 135"/>
          <p:cNvSpPr/>
          <p:nvPr/>
        </p:nvSpPr>
        <p:spPr bwMode="auto">
          <a:xfrm>
            <a:off x="9137082" y="6598309"/>
            <a:ext cx="1329848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Llindar d’acceptació  </a:t>
            </a:r>
            <a:r>
              <a:rPr lang="ca-ES" sz="700" dirty="0"/>
              <a:t>–</a:t>
            </a:r>
            <a:endParaRPr kumimoji="0" lang="ca-ES" sz="80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pic>
        <p:nvPicPr>
          <p:cNvPr id="86" name="Imagen 8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748078" y="6643667"/>
            <a:ext cx="144000" cy="144000"/>
          </a:xfrm>
          <a:prstGeom prst="rect">
            <a:avLst/>
          </a:prstGeom>
        </p:spPr>
      </p:pic>
      <p:sp>
        <p:nvSpPr>
          <p:cNvPr id="88" name="Rectángulo 135"/>
          <p:cNvSpPr/>
          <p:nvPr/>
        </p:nvSpPr>
        <p:spPr bwMode="auto">
          <a:xfrm>
            <a:off x="10387346" y="6598309"/>
            <a:ext cx="540595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Rectángulo 135"/>
          <p:cNvSpPr/>
          <p:nvPr/>
        </p:nvSpPr>
        <p:spPr bwMode="auto">
          <a:xfrm>
            <a:off x="10868026" y="6598309"/>
            <a:ext cx="539467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No 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8" name="Rectángulo 107"/>
          <p:cNvSpPr/>
          <p:nvPr/>
        </p:nvSpPr>
        <p:spPr>
          <a:xfrm>
            <a:off x="7223568" y="6597352"/>
            <a:ext cx="1298761" cy="2154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Aspectes  de millora</a:t>
            </a:r>
          </a:p>
        </p:txBody>
      </p:sp>
      <p:cxnSp>
        <p:nvCxnSpPr>
          <p:cNvPr id="109" name="Conector recto 108"/>
          <p:cNvCxnSpPr/>
          <p:nvPr/>
        </p:nvCxnSpPr>
        <p:spPr>
          <a:xfrm>
            <a:off x="8243540" y="6710398"/>
            <a:ext cx="576064" cy="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cto 111"/>
          <p:cNvCxnSpPr/>
          <p:nvPr/>
        </p:nvCxnSpPr>
        <p:spPr bwMode="auto">
          <a:xfrm flipH="1">
            <a:off x="6960096" y="6591002"/>
            <a:ext cx="433963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000000">
                    <a:lumMod val="0"/>
                    <a:lumOff val="100000"/>
                  </a:srgbClr>
                </a:gs>
                <a:gs pos="12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100000"/>
                  </a:srgbClr>
                </a:gs>
              </a:gsLst>
              <a:lin ang="10800000" scaled="1"/>
              <a:tileRect/>
            </a:gra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29" name="Imagen 128"/>
          <p:cNvPicPr>
            <a:picLocks noChangeAspect="1"/>
          </p:cNvPicPr>
          <p:nvPr/>
        </p:nvPicPr>
        <p:blipFill>
          <a:blip r:embed="rId7">
            <a:duotone>
              <a:srgbClr val="8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633" l="7227" r="92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43346" y="6638954"/>
            <a:ext cx="144000" cy="144000"/>
          </a:xfrm>
          <a:prstGeom prst="rect">
            <a:avLst/>
          </a:prstGeom>
        </p:spPr>
      </p:pic>
      <p:sp>
        <p:nvSpPr>
          <p:cNvPr id="96" name="Rectángulo 95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99" name="Imatge 7">
            <a:extLst>
              <a:ext uri="{FF2B5EF4-FFF2-40B4-BE49-F238E27FC236}">
                <a16:creationId xmlns:a16="http://schemas.microsoft.com/office/drawing/2014/main" id="{8525ACAC-3AC5-4335-9E26-8051BD4AEF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68423" y="1116652"/>
            <a:ext cx="540502" cy="540502"/>
          </a:xfrm>
          <a:prstGeom prst="rect">
            <a:avLst/>
          </a:prstGeom>
        </p:spPr>
      </p:pic>
      <p:sp>
        <p:nvSpPr>
          <p:cNvPr id="70" name="QuadreDeText 48">
            <a:extLst>
              <a:ext uri="{FF2B5EF4-FFF2-40B4-BE49-F238E27FC236}">
                <a16:creationId xmlns:a16="http://schemas.microsoft.com/office/drawing/2014/main" id="{4783B74C-BB94-4E7E-9A37-5CE86BA58A92}"/>
              </a:ext>
            </a:extLst>
          </p:cNvPr>
          <p:cNvSpPr txBox="1"/>
          <p:nvPr/>
        </p:nvSpPr>
        <p:spPr>
          <a:xfrm>
            <a:off x="3517984" y="6261841"/>
            <a:ext cx="3505036" cy="47705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eaLnBrk="1" hangingPunct="1">
              <a:spcBef>
                <a:spcPts val="0"/>
              </a:spcBef>
              <a:spcAft>
                <a:spcPts val="0"/>
              </a:spcAft>
            </a:pPr>
            <a:r>
              <a:rPr lang="ca-ES" sz="850" b="1" i="1" dirty="0">
                <a:solidFill>
                  <a:srgbClr val="800000"/>
                </a:solidFill>
                <a:latin typeface="+mj-lt"/>
                <a:cs typeface="+mn-cs"/>
              </a:rPr>
              <a:t>Passed/Failed: </a:t>
            </a:r>
            <a:r>
              <a:rPr lang="ca-ES" sz="800" dirty="0">
                <a:solidFill>
                  <a:srgbClr val="000000"/>
                </a:solidFill>
                <a:latin typeface="+mj-lt"/>
                <a:cs typeface="+mn-cs"/>
              </a:rPr>
              <a:t>Proves finalitzades correctament/incorrectament.</a:t>
            </a:r>
            <a:r>
              <a:rPr lang="ca-ES" sz="800" b="1" dirty="0">
                <a:solidFill>
                  <a:srgbClr val="000000"/>
                </a:solidFill>
                <a:latin typeface="+mj-lt"/>
                <a:cs typeface="+mn-cs"/>
              </a:rPr>
              <a:t>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</a:pPr>
            <a:r>
              <a:rPr lang="ca-ES" sz="850" b="1" i="1" dirty="0">
                <a:solidFill>
                  <a:srgbClr val="800000"/>
                </a:solidFill>
                <a:latin typeface="+mj-lt"/>
                <a:cs typeface="+mn-cs"/>
              </a:rPr>
              <a:t>Blocked: </a:t>
            </a:r>
            <a:r>
              <a:rPr lang="ca-ES" sz="800" dirty="0">
                <a:solidFill>
                  <a:srgbClr val="000000"/>
                </a:solidFill>
                <a:latin typeface="+mj-lt"/>
                <a:cs typeface="+mn-cs"/>
              </a:rPr>
              <a:t>Proves no finalitzades perquè un defecte previ ha de quedar resolt abans d’executar-se la prova.</a:t>
            </a:r>
            <a:endParaRPr lang="ca-ES" sz="8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pic>
        <p:nvPicPr>
          <p:cNvPr id="5" name="Imagen 4" descr="Una captura de pantalla de un celular&#10;&#10;Descripción generada automáticamente">
            <a:extLst>
              <a:ext uri="{FF2B5EF4-FFF2-40B4-BE49-F238E27FC236}">
                <a16:creationId xmlns:a16="http://schemas.microsoft.com/office/drawing/2014/main" id="{4EE0676D-4A91-4F0C-A313-84FB1DEF36E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89"/>
          <a:stretch/>
        </p:blipFill>
        <p:spPr>
          <a:xfrm>
            <a:off x="6966904" y="1118618"/>
            <a:ext cx="4885621" cy="1980000"/>
          </a:xfrm>
          <a:prstGeom prst="rect">
            <a:avLst/>
          </a:prstGeom>
        </p:spPr>
      </p:pic>
      <p:pic>
        <p:nvPicPr>
          <p:cNvPr id="7" name="Imagen 6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2820C05A-9AD2-44B6-A74D-5ED9AC27FE2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48"/>
          <a:stretch/>
        </p:blipFill>
        <p:spPr>
          <a:xfrm>
            <a:off x="584932" y="1698246"/>
            <a:ext cx="5016063" cy="2088000"/>
          </a:xfrm>
          <a:prstGeom prst="rect">
            <a:avLst/>
          </a:prstGeom>
        </p:spPr>
      </p:pic>
      <p:sp>
        <p:nvSpPr>
          <p:cNvPr id="83" name="Shape 170"/>
          <p:cNvSpPr/>
          <p:nvPr/>
        </p:nvSpPr>
        <p:spPr>
          <a:xfrm>
            <a:off x="2639616" y="2492896"/>
            <a:ext cx="886194" cy="899000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b="1" kern="0" dirty="0">
                <a:solidFill>
                  <a:srgbClr val="800000"/>
                </a:solidFill>
              </a:rPr>
              <a:t>100</a:t>
            </a:r>
            <a:r>
              <a:rPr kumimoji="0" lang="ca-ES" sz="1500" b="1" i="0" u="none" strike="noStrike" kern="0" cap="all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Helvetica Neue"/>
                <a:sym typeface="Helvetica Neue"/>
              </a:rPr>
              <a:t>%</a:t>
            </a:r>
          </a:p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0" cap="all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sym typeface="Helvetica Neue"/>
              </a:rPr>
              <a:t>passed</a:t>
            </a:r>
            <a:endParaRPr kumimoji="0" lang="ca-ES" sz="1200" b="1" i="0" u="none" strike="noStrike" kern="0" cap="all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FD220565-B2DE-435B-80C3-BF9F8023CF86}"/>
              </a:ext>
            </a:extLst>
          </p:cNvPr>
          <p:cNvGrpSpPr/>
          <p:nvPr/>
        </p:nvGrpSpPr>
        <p:grpSpPr>
          <a:xfrm>
            <a:off x="2711624" y="1731881"/>
            <a:ext cx="598398" cy="230832"/>
            <a:chOff x="2711624" y="1731881"/>
            <a:chExt cx="598398" cy="230832"/>
          </a:xfrm>
        </p:grpSpPr>
        <p:pic>
          <p:nvPicPr>
            <p:cNvPr id="91" name="Imagen 90">
              <a:extLst>
                <a:ext uri="{FF2B5EF4-FFF2-40B4-BE49-F238E27FC236}">
                  <a16:creationId xmlns:a16="http://schemas.microsoft.com/office/drawing/2014/main" id="{E8FCA138-32D6-43C5-99B0-CD368651FF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800000">
              <a:off x="2711624" y="1795695"/>
              <a:ext cx="144000" cy="144000"/>
            </a:xfrm>
            <a:prstGeom prst="rect">
              <a:avLst/>
            </a:prstGeom>
          </p:spPr>
        </p:pic>
        <p:sp>
          <p:nvSpPr>
            <p:cNvPr id="107" name="CuadroTexto 106">
              <a:extLst>
                <a:ext uri="{FF2B5EF4-FFF2-40B4-BE49-F238E27FC236}">
                  <a16:creationId xmlns:a16="http://schemas.microsoft.com/office/drawing/2014/main" id="{D1C85226-AE88-4336-8B89-BC61EA8D1C54}"/>
                </a:ext>
              </a:extLst>
            </p:cNvPr>
            <p:cNvSpPr txBox="1"/>
            <p:nvPr/>
          </p:nvSpPr>
          <p:spPr>
            <a:xfrm>
              <a:off x="2875907" y="1731881"/>
              <a:ext cx="434115" cy="230832"/>
            </a:xfrm>
            <a:prstGeom prst="rect">
              <a:avLst/>
            </a:prstGeom>
            <a:noFill/>
          </p:spPr>
          <p:txBody>
            <a:bodyPr wrap="square" lIns="36000" rIns="0" rtlCol="0">
              <a:spAutoFit/>
            </a:bodyPr>
            <a:lstStyle/>
            <a:p>
              <a:r>
                <a:rPr lang="ca-ES" sz="900" b="1" dirty="0">
                  <a:latin typeface="Arial" panose="020B0604020202020204" pitchFamily="34" charset="0"/>
                </a:rPr>
                <a:t>&lt; 100%</a:t>
              </a:r>
            </a:p>
          </p:txBody>
        </p:sp>
      </p:grpSp>
      <p:pic>
        <p:nvPicPr>
          <p:cNvPr id="11" name="Imagen 10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FC4AF8B9-1020-4964-B05B-A48FEAFAC78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74"/>
          <a:stretch/>
        </p:blipFill>
        <p:spPr>
          <a:xfrm>
            <a:off x="601816" y="3912801"/>
            <a:ext cx="5211628" cy="2088000"/>
          </a:xfrm>
          <a:prstGeom prst="rect">
            <a:avLst/>
          </a:prstGeom>
        </p:spPr>
      </p:pic>
      <p:sp>
        <p:nvSpPr>
          <p:cNvPr id="100" name="Shape 170">
            <a:extLst>
              <a:ext uri="{FF2B5EF4-FFF2-40B4-BE49-F238E27FC236}">
                <a16:creationId xmlns:a16="http://schemas.microsoft.com/office/drawing/2014/main" id="{0040B19E-2764-459B-A878-9280FC56D288}"/>
              </a:ext>
            </a:extLst>
          </p:cNvPr>
          <p:cNvSpPr/>
          <p:nvPr/>
        </p:nvSpPr>
        <p:spPr>
          <a:xfrm>
            <a:off x="2761534" y="4776376"/>
            <a:ext cx="886194" cy="899000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500" b="1" i="0" u="none" strike="noStrike" kern="0" cap="all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Helvetica Neue"/>
                <a:sym typeface="Helvetica Neue"/>
              </a:rPr>
              <a:t>38%</a:t>
            </a:r>
          </a:p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0" cap="all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sym typeface="Helvetica Neue"/>
              </a:rPr>
              <a:t>passed</a:t>
            </a:r>
            <a:endParaRPr kumimoji="0" lang="ca-ES" sz="1200" b="1" i="0" u="none" strike="noStrike" kern="0" cap="all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sp>
        <p:nvSpPr>
          <p:cNvPr id="105" name="Proceso 79">
            <a:extLst>
              <a:ext uri="{FF2B5EF4-FFF2-40B4-BE49-F238E27FC236}">
                <a16:creationId xmlns:a16="http://schemas.microsoft.com/office/drawing/2014/main" id="{EA6DDA2C-CD82-4BA2-8F89-F4E0B0837D77}"/>
              </a:ext>
            </a:extLst>
          </p:cNvPr>
          <p:cNvSpPr/>
          <p:nvPr/>
        </p:nvSpPr>
        <p:spPr>
          <a:xfrm>
            <a:off x="2811351" y="4828113"/>
            <a:ext cx="786559" cy="810368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6796D0B2-30D6-4414-B2C9-CFCDEB722F1B}"/>
              </a:ext>
            </a:extLst>
          </p:cNvPr>
          <p:cNvGrpSpPr/>
          <p:nvPr/>
        </p:nvGrpSpPr>
        <p:grpSpPr>
          <a:xfrm>
            <a:off x="2711624" y="3922151"/>
            <a:ext cx="598398" cy="230832"/>
            <a:chOff x="2711624" y="3922151"/>
            <a:chExt cx="598398" cy="230832"/>
          </a:xfrm>
        </p:grpSpPr>
        <p:pic>
          <p:nvPicPr>
            <p:cNvPr id="98" name="Imagen 97">
              <a:extLst>
                <a:ext uri="{FF2B5EF4-FFF2-40B4-BE49-F238E27FC236}">
                  <a16:creationId xmlns:a16="http://schemas.microsoft.com/office/drawing/2014/main" id="{47D54BB5-F1E1-43B7-A573-E95488F16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800000">
              <a:off x="2711624" y="3992309"/>
              <a:ext cx="144000" cy="144000"/>
            </a:xfrm>
            <a:prstGeom prst="rect">
              <a:avLst/>
            </a:prstGeom>
          </p:spPr>
        </p:pic>
        <p:sp>
          <p:nvSpPr>
            <p:cNvPr id="116" name="CuadroTexto 115">
              <a:extLst>
                <a:ext uri="{FF2B5EF4-FFF2-40B4-BE49-F238E27FC236}">
                  <a16:creationId xmlns:a16="http://schemas.microsoft.com/office/drawing/2014/main" id="{8B9A7AE9-E1A6-4B55-BA18-31722AB37B68}"/>
                </a:ext>
              </a:extLst>
            </p:cNvPr>
            <p:cNvSpPr txBox="1"/>
            <p:nvPr/>
          </p:nvSpPr>
          <p:spPr>
            <a:xfrm>
              <a:off x="2875907" y="3922151"/>
              <a:ext cx="434115" cy="230832"/>
            </a:xfrm>
            <a:prstGeom prst="rect">
              <a:avLst/>
            </a:prstGeom>
            <a:noFill/>
          </p:spPr>
          <p:txBody>
            <a:bodyPr wrap="square" lIns="36000" rIns="0" rtlCol="0">
              <a:spAutoFit/>
            </a:bodyPr>
            <a:lstStyle/>
            <a:p>
              <a:r>
                <a:rPr lang="ca-ES" sz="900" b="1" dirty="0">
                  <a:latin typeface="Arial" panose="020B0604020202020204" pitchFamily="34" charset="0"/>
                </a:rPr>
                <a:t>&lt; 100%</a:t>
              </a:r>
            </a:p>
          </p:txBody>
        </p:sp>
      </p:grpSp>
      <p:pic>
        <p:nvPicPr>
          <p:cNvPr id="13" name="Imagen 12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F5253E54-ACBE-4E75-BE69-B26714AB5EAA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6"/>
          <a:stretch/>
        </p:blipFill>
        <p:spPr>
          <a:xfrm>
            <a:off x="6876535" y="3051984"/>
            <a:ext cx="4865760" cy="1980000"/>
          </a:xfrm>
          <a:prstGeom prst="rect">
            <a:avLst/>
          </a:prstGeom>
        </p:spPr>
      </p:pic>
      <p:pic>
        <p:nvPicPr>
          <p:cNvPr id="16" name="Imagen 15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063E2212-9F60-4FAB-B099-90F65C7EA0D4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89"/>
          <a:stretch/>
        </p:blipFill>
        <p:spPr>
          <a:xfrm>
            <a:off x="6876535" y="4539618"/>
            <a:ext cx="4885619" cy="1980000"/>
          </a:xfrm>
          <a:prstGeom prst="rect">
            <a:avLst/>
          </a:prstGeom>
        </p:spPr>
      </p:pic>
      <p:pic>
        <p:nvPicPr>
          <p:cNvPr id="35" name="Imagen 34">
            <a:hlinkClick r:id="rId15" action="ppaction://hlinksldjump"/>
            <a:extLst>
              <a:ext uri="{FF2B5EF4-FFF2-40B4-BE49-F238E27FC236}">
                <a16:creationId xmlns:a16="http://schemas.microsoft.com/office/drawing/2014/main" id="{6F983A7D-7E04-4105-8B5F-424FB464EFD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1177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47170"/>
            <a:ext cx="11160338" cy="699746"/>
          </a:xfrm>
        </p:spPr>
        <p:txBody>
          <a:bodyPr/>
          <a:lstStyle/>
          <a:p>
            <a:pPr marL="357188" indent="-357188"/>
            <a:r>
              <a:rPr lang="ca-ES" dirty="0"/>
              <a:t>1. Qualitat de la nova versió a publicar</a:t>
            </a:r>
            <a:br>
              <a:rPr lang="ca-ES" dirty="0"/>
            </a:br>
            <a:r>
              <a:rPr lang="ca-ES" sz="2215" dirty="0"/>
              <a:t>Codi Font				</a:t>
            </a:r>
            <a:endParaRPr lang="ca-ES" sz="1000" dirty="0"/>
          </a:p>
        </p:txBody>
      </p:sp>
      <p:sp>
        <p:nvSpPr>
          <p:cNvPr id="68" name="Rectángulo 135"/>
          <p:cNvSpPr/>
          <p:nvPr/>
        </p:nvSpPr>
        <p:spPr bwMode="auto">
          <a:xfrm>
            <a:off x="9137082" y="6598309"/>
            <a:ext cx="1329848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Llindar d’acceptació  </a:t>
            </a:r>
            <a:r>
              <a:rPr lang="ca-ES" sz="700" dirty="0"/>
              <a:t>–</a:t>
            </a:r>
            <a:endParaRPr kumimoji="0" lang="ca-ES" sz="80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5068033" y="1180510"/>
            <a:ext cx="10279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Petita: </a:t>
            </a:r>
            <a:r>
              <a:rPr lang="ca-ES" sz="700" b="0" dirty="0">
                <a:latin typeface="Calibri" panose="020F0502020204030204" pitchFamily="34" charset="0"/>
              </a:rPr>
              <a:t>&lt;200 K</a:t>
            </a:r>
          </a:p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Mitjana: </a:t>
            </a:r>
            <a:r>
              <a:rPr lang="ca-ES" sz="700" b="0" dirty="0">
                <a:latin typeface="Calibri" panose="020F0502020204030204" pitchFamily="34" charset="0"/>
              </a:rPr>
              <a:t>200-500 K</a:t>
            </a:r>
          </a:p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Gran: </a:t>
            </a:r>
            <a:r>
              <a:rPr lang="ca-ES" sz="700" b="0" dirty="0">
                <a:latin typeface="Calibri" panose="020F0502020204030204" pitchFamily="34" charset="0"/>
              </a:rPr>
              <a:t>500-1000 K</a:t>
            </a:r>
          </a:p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Extra Gran: </a:t>
            </a:r>
            <a:r>
              <a:rPr lang="ca-ES" sz="700" b="0" dirty="0">
                <a:latin typeface="Calibri" panose="020F0502020204030204" pitchFamily="34" charset="0"/>
              </a:rPr>
              <a:t>&gt;1000 K</a:t>
            </a:r>
          </a:p>
        </p:txBody>
      </p:sp>
      <p:pic>
        <p:nvPicPr>
          <p:cNvPr id="86" name="Imagen 8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748078" y="6643667"/>
            <a:ext cx="144000" cy="144000"/>
          </a:xfrm>
          <a:prstGeom prst="rect">
            <a:avLst/>
          </a:prstGeom>
        </p:spPr>
      </p:pic>
      <p:sp>
        <p:nvSpPr>
          <p:cNvPr id="88" name="Rectángulo 135"/>
          <p:cNvSpPr/>
          <p:nvPr/>
        </p:nvSpPr>
        <p:spPr bwMode="auto">
          <a:xfrm>
            <a:off x="10387346" y="6598309"/>
            <a:ext cx="540595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Rectángulo 135"/>
          <p:cNvSpPr/>
          <p:nvPr/>
        </p:nvSpPr>
        <p:spPr bwMode="auto">
          <a:xfrm>
            <a:off x="10868026" y="6598309"/>
            <a:ext cx="539467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No 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8" name="Rectángulo 107"/>
          <p:cNvSpPr/>
          <p:nvPr/>
        </p:nvSpPr>
        <p:spPr>
          <a:xfrm>
            <a:off x="7223568" y="6597352"/>
            <a:ext cx="1298761" cy="2154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Aspectes  de millora</a:t>
            </a:r>
          </a:p>
        </p:txBody>
      </p:sp>
      <p:cxnSp>
        <p:nvCxnSpPr>
          <p:cNvPr id="109" name="Conector recto 108"/>
          <p:cNvCxnSpPr/>
          <p:nvPr/>
        </p:nvCxnSpPr>
        <p:spPr>
          <a:xfrm>
            <a:off x="8243540" y="6710398"/>
            <a:ext cx="576064" cy="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cto 111"/>
          <p:cNvCxnSpPr/>
          <p:nvPr/>
        </p:nvCxnSpPr>
        <p:spPr bwMode="auto">
          <a:xfrm flipH="1">
            <a:off x="6960096" y="6591002"/>
            <a:ext cx="433963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000000">
                    <a:lumMod val="0"/>
                    <a:lumOff val="100000"/>
                  </a:srgbClr>
                </a:gs>
                <a:gs pos="12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100000"/>
                  </a:srgbClr>
                </a:gs>
              </a:gsLst>
              <a:lin ang="10800000" scaled="1"/>
              <a:tileRect/>
            </a:gra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29" name="Imagen 128"/>
          <p:cNvPicPr>
            <a:picLocks noChangeAspect="1"/>
          </p:cNvPicPr>
          <p:nvPr/>
        </p:nvPicPr>
        <p:blipFill>
          <a:blip r:embed="rId5">
            <a:duotone>
              <a:srgbClr val="8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633" l="7227" r="92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43346" y="6638954"/>
            <a:ext cx="144000" cy="144000"/>
          </a:xfrm>
          <a:prstGeom prst="rect">
            <a:avLst/>
          </a:prstGeom>
        </p:spPr>
      </p:pic>
      <p:pic>
        <p:nvPicPr>
          <p:cNvPr id="95" name="Imagen 94">
            <a:hlinkClick r:id="rId7" action="ppaction://hlinksldjump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  <p:sp>
        <p:nvSpPr>
          <p:cNvPr id="96" name="Rectángulo 95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97" name="Rectangle 10">
            <a:extLst>
              <a:ext uri="{FF2B5EF4-FFF2-40B4-BE49-F238E27FC236}">
                <a16:creationId xmlns:a16="http://schemas.microsoft.com/office/drawing/2014/main" id="{BC15D5A7-514B-4635-B5BF-3CECE54E3800}"/>
              </a:ext>
            </a:extLst>
          </p:cNvPr>
          <p:cNvSpPr/>
          <p:nvPr/>
        </p:nvSpPr>
        <p:spPr>
          <a:xfrm>
            <a:off x="632916" y="1174479"/>
            <a:ext cx="4382963" cy="482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bIns="0" rtlCol="0" anchor="t" anchorCtr="0"/>
          <a:lstStyle/>
          <a:p>
            <a:pPr lvl="0" algn="ctr"/>
            <a:r>
              <a:rPr lang="ca-ES" sz="1200" b="1" dirty="0">
                <a:solidFill>
                  <a:srgbClr val="FFFFFF"/>
                </a:solidFill>
                <a:latin typeface="Arial" panose="020B0604020202020204" pitchFamily="34" charset="0"/>
              </a:rPr>
              <a:t>Estat del codi font</a:t>
            </a:r>
          </a:p>
          <a:p>
            <a:pPr lvl="0" algn="ctr"/>
            <a:r>
              <a:rPr lang="ca-ES" sz="700" dirty="0">
                <a:solidFill>
                  <a:srgbClr val="FFFFFF"/>
                </a:solidFill>
                <a:latin typeface="Arial" panose="020B0604020202020204" pitchFamily="34" charset="0"/>
              </a:rPr>
              <a:t>Darrera actualització: </a:t>
            </a:r>
            <a:r>
              <a:rPr lang="ca-ES" sz="700" dirty="0" err="1">
                <a:solidFill>
                  <a:srgbClr val="FFFFFF"/>
                </a:solidFill>
                <a:latin typeface="Arial" panose="020B0604020202020204" pitchFamily="34" charset="0"/>
              </a:rPr>
              <a:t>dd</a:t>
            </a:r>
            <a:r>
              <a:rPr lang="ca-ES" sz="700" dirty="0">
                <a:solidFill>
                  <a:srgbClr val="FFFFFF"/>
                </a:solidFill>
                <a:latin typeface="Arial" panose="020B0604020202020204" pitchFamily="34" charset="0"/>
              </a:rPr>
              <a:t>/mm/</a:t>
            </a:r>
            <a:r>
              <a:rPr lang="ca-ES" sz="700" dirty="0" err="1">
                <a:solidFill>
                  <a:srgbClr val="FFFFFF"/>
                </a:solidFill>
                <a:latin typeface="Arial" panose="020B0604020202020204" pitchFamily="34" charset="0"/>
              </a:rPr>
              <a:t>aaaa</a:t>
            </a:r>
            <a:endParaRPr lang="ca-ES" sz="70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lvl="0" algn="ctr"/>
            <a:r>
              <a:rPr lang="ca-ES" sz="900" b="1" dirty="0">
                <a:solidFill>
                  <a:srgbClr val="FFFFFF"/>
                </a:solidFill>
                <a:latin typeface="Arial" panose="020B0604020202020204" pitchFamily="34" charset="0"/>
              </a:rPr>
              <a:t>xxx línies de codi (Mida </a:t>
            </a:r>
            <a:r>
              <a:rPr lang="ca-ES" sz="900" b="1" dirty="0" err="1">
                <a:solidFill>
                  <a:srgbClr val="FFFFFF"/>
                </a:solidFill>
                <a:latin typeface="Arial" panose="020B0604020202020204" pitchFamily="34" charset="0"/>
              </a:rPr>
              <a:t>xxxx</a:t>
            </a:r>
            <a:r>
              <a:rPr lang="ca-ES" sz="900" b="1" dirty="0">
                <a:solidFill>
                  <a:srgbClr val="FFFFFF"/>
                </a:solidFill>
                <a:latin typeface="Arial" panose="020B0604020202020204" pitchFamily="34" charset="0"/>
              </a:rPr>
              <a:t>)</a:t>
            </a:r>
          </a:p>
        </p:txBody>
      </p:sp>
      <p:pic>
        <p:nvPicPr>
          <p:cNvPr id="99" name="Imatge 7">
            <a:extLst>
              <a:ext uri="{FF2B5EF4-FFF2-40B4-BE49-F238E27FC236}">
                <a16:creationId xmlns:a16="http://schemas.microsoft.com/office/drawing/2014/main" id="{8525ACAC-3AC5-4335-9E26-8051BD4AEF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95400" y="1134335"/>
            <a:ext cx="410446" cy="540502"/>
          </a:xfrm>
          <a:prstGeom prst="rect">
            <a:avLst/>
          </a:prstGeom>
        </p:spPr>
      </p:pic>
      <p:graphicFrame>
        <p:nvGraphicFramePr>
          <p:cNvPr id="101" name="Chart 169">
            <a:extLst>
              <a:ext uri="{FF2B5EF4-FFF2-40B4-BE49-F238E27FC236}">
                <a16:creationId xmlns:a16="http://schemas.microsoft.com/office/drawing/2014/main" id="{2FCC967E-E965-44B4-9DDE-572D7DB571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858220"/>
              </p:ext>
            </p:extLst>
          </p:nvPr>
        </p:nvGraphicFramePr>
        <p:xfrm>
          <a:off x="586178" y="1844153"/>
          <a:ext cx="1584000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03" name="Chart 169">
            <a:extLst>
              <a:ext uri="{FF2B5EF4-FFF2-40B4-BE49-F238E27FC236}">
                <a16:creationId xmlns:a16="http://schemas.microsoft.com/office/drawing/2014/main" id="{5F98C76E-F944-4F5C-8498-E7B0ED651F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0211036"/>
              </p:ext>
            </p:extLst>
          </p:nvPr>
        </p:nvGraphicFramePr>
        <p:xfrm>
          <a:off x="2070096" y="2919216"/>
          <a:ext cx="1584000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4" name="Elipse 103">
            <a:extLst>
              <a:ext uri="{FF2B5EF4-FFF2-40B4-BE49-F238E27FC236}">
                <a16:creationId xmlns:a16="http://schemas.microsoft.com/office/drawing/2014/main" id="{49CDA2F9-36A5-4D8B-8205-378BFD88A3A1}"/>
              </a:ext>
            </a:extLst>
          </p:cNvPr>
          <p:cNvSpPr/>
          <p:nvPr/>
        </p:nvSpPr>
        <p:spPr bwMode="auto">
          <a:xfrm>
            <a:off x="2358096" y="3208095"/>
            <a:ext cx="1008000" cy="100624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1600" b="1" dirty="0">
                <a:solidFill>
                  <a:srgbClr val="9A0000"/>
                </a:solidFill>
                <a:latin typeface="Arial" charset="0"/>
              </a:rPr>
              <a:t>0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1" dirty="0">
                <a:latin typeface="Arial" charset="0"/>
              </a:rPr>
              <a:t>VIOLACIONS </a:t>
            </a:r>
            <a:r>
              <a:rPr kumimoji="0" lang="ca-ES" sz="7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LOQUEJANTS</a:t>
            </a:r>
            <a:endParaRPr kumimoji="0" lang="ca-ES" sz="7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id="{3FEF90AC-3EF4-42C4-8EB0-EE18D7F8B573}"/>
              </a:ext>
            </a:extLst>
          </p:cNvPr>
          <p:cNvSpPr/>
          <p:nvPr/>
        </p:nvSpPr>
        <p:spPr bwMode="auto">
          <a:xfrm>
            <a:off x="870578" y="2128553"/>
            <a:ext cx="1015200" cy="101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b="1" dirty="0">
                <a:solidFill>
                  <a:srgbClr val="9E0000"/>
                </a:solidFill>
                <a:latin typeface="Arial" charset="0"/>
              </a:rPr>
              <a:t>14,2%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% NOU CODI DUPLICAT</a:t>
            </a:r>
            <a:endParaRPr kumimoji="0" lang="ca-ES" sz="1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10" name="Chart 169">
            <a:extLst>
              <a:ext uri="{FF2B5EF4-FFF2-40B4-BE49-F238E27FC236}">
                <a16:creationId xmlns:a16="http://schemas.microsoft.com/office/drawing/2014/main" id="{6B11F42F-2270-497D-A0CE-8F023E462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9708583"/>
              </p:ext>
            </p:extLst>
          </p:nvPr>
        </p:nvGraphicFramePr>
        <p:xfrm>
          <a:off x="3554014" y="1870074"/>
          <a:ext cx="1584000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11" name="Elipse 110">
            <a:extLst>
              <a:ext uri="{FF2B5EF4-FFF2-40B4-BE49-F238E27FC236}">
                <a16:creationId xmlns:a16="http://schemas.microsoft.com/office/drawing/2014/main" id="{D500DD48-C92F-4D0A-B97D-2A3E1FFEDD75}"/>
              </a:ext>
            </a:extLst>
          </p:cNvPr>
          <p:cNvSpPr/>
          <p:nvPr/>
        </p:nvSpPr>
        <p:spPr bwMode="auto">
          <a:xfrm>
            <a:off x="3842014" y="2158953"/>
            <a:ext cx="1008000" cy="100624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1600" b="1" dirty="0">
                <a:solidFill>
                  <a:srgbClr val="9A0000"/>
                </a:solidFill>
                <a:latin typeface="Arial" charset="0"/>
              </a:rPr>
              <a:t>0</a:t>
            </a:r>
          </a:p>
          <a:p>
            <a:pPr algn="ctr" eaLnBrk="1" hangingPunct="1">
              <a:spcBef>
                <a:spcPts val="0"/>
              </a:spcBef>
            </a:pPr>
            <a:r>
              <a:rPr lang="ca-ES" sz="700" b="1" dirty="0">
                <a:latin typeface="Arial" charset="0"/>
              </a:rPr>
              <a:t>VIOLACIONS CRÍTIQUES</a:t>
            </a:r>
          </a:p>
        </p:txBody>
      </p:sp>
      <p:graphicFrame>
        <p:nvGraphicFramePr>
          <p:cNvPr id="113" name="Tabla 112">
            <a:extLst>
              <a:ext uri="{FF2B5EF4-FFF2-40B4-BE49-F238E27FC236}">
                <a16:creationId xmlns:a16="http://schemas.microsoft.com/office/drawing/2014/main" id="{6020784C-5E6C-451C-B475-AE05AEBD9A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065697"/>
              </p:ext>
            </p:extLst>
          </p:nvPr>
        </p:nvGraphicFramePr>
        <p:xfrm>
          <a:off x="757318" y="4618941"/>
          <a:ext cx="3648426" cy="93610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55444">
                  <a:extLst>
                    <a:ext uri="{9D8B030D-6E8A-4147-A177-3AD203B41FA5}">
                      <a16:colId xmlns:a16="http://schemas.microsoft.com/office/drawing/2014/main" val="102168287"/>
                    </a:ext>
                  </a:extLst>
                </a:gridCol>
                <a:gridCol w="855444">
                  <a:extLst>
                    <a:ext uri="{9D8B030D-6E8A-4147-A177-3AD203B41FA5}">
                      <a16:colId xmlns:a16="http://schemas.microsoft.com/office/drawing/2014/main" val="2360632396"/>
                    </a:ext>
                  </a:extLst>
                </a:gridCol>
                <a:gridCol w="592230">
                  <a:extLst>
                    <a:ext uri="{9D8B030D-6E8A-4147-A177-3AD203B41FA5}">
                      <a16:colId xmlns:a16="http://schemas.microsoft.com/office/drawing/2014/main" val="4149996515"/>
                    </a:ext>
                  </a:extLst>
                </a:gridCol>
                <a:gridCol w="575965">
                  <a:extLst>
                    <a:ext uri="{9D8B030D-6E8A-4147-A177-3AD203B41FA5}">
                      <a16:colId xmlns:a16="http://schemas.microsoft.com/office/drawing/2014/main" val="2070706743"/>
                    </a:ext>
                  </a:extLst>
                </a:gridCol>
                <a:gridCol w="769343">
                  <a:extLst>
                    <a:ext uri="{9D8B030D-6E8A-4147-A177-3AD203B41FA5}">
                      <a16:colId xmlns:a16="http://schemas.microsoft.com/office/drawing/2014/main" val="1319065267"/>
                    </a:ext>
                  </a:extLst>
                </a:gridCol>
              </a:tblGrid>
              <a:tr h="4153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òdul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Característica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Versió Anterior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Versió</a:t>
                      </a:r>
                    </a:p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Actual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 err="1">
                          <a:effectLst/>
                        </a:rPr>
                        <a:t>Increment</a:t>
                      </a:r>
                      <a:r>
                        <a:rPr lang="es-ES" sz="1000" u="none" strike="noStrike" dirty="0">
                          <a:effectLst/>
                        </a:rPr>
                        <a:t> de </a:t>
                      </a:r>
                      <a:r>
                        <a:rPr lang="es-ES" sz="1000" u="none" strike="noStrike" dirty="0" err="1">
                          <a:effectLst/>
                        </a:rPr>
                        <a:t>codi</a:t>
                      </a:r>
                      <a:r>
                        <a:rPr lang="es-ES" sz="1000" u="none" strike="noStrike" dirty="0">
                          <a:effectLst/>
                        </a:rPr>
                        <a:t> actual**</a:t>
                      </a:r>
                      <a:endParaRPr lang="es-ES" sz="10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01953"/>
                  </a:ext>
                </a:extLst>
              </a:tr>
              <a:tr h="18693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òdul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Blocker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71162453"/>
                  </a:ext>
                </a:extLst>
              </a:tr>
              <a:tr h="166916">
                <a:tc vMerge="1">
                  <a:txBody>
                    <a:bodyPr/>
                    <a:lstStyle/>
                    <a:p>
                      <a:pPr algn="ctr" rtl="0" fontAlgn="ctr"/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Critical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7915581"/>
                  </a:ext>
                </a:extLst>
              </a:tr>
              <a:tr h="166916">
                <a:tc vMerge="1">
                  <a:txBody>
                    <a:bodyPr/>
                    <a:lstStyle/>
                    <a:p>
                      <a:pPr algn="ctr" rtl="0" fontAlgn="ctr"/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% Duplicats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6949405"/>
                  </a:ext>
                </a:extLst>
              </a:tr>
            </a:tbl>
          </a:graphicData>
        </a:graphic>
      </p:graphicFrame>
      <p:sp>
        <p:nvSpPr>
          <p:cNvPr id="114" name="QuadreDeText 48">
            <a:extLst>
              <a:ext uri="{FF2B5EF4-FFF2-40B4-BE49-F238E27FC236}">
                <a16:creationId xmlns:a16="http://schemas.microsoft.com/office/drawing/2014/main" id="{BEEF878D-5673-4575-A955-899E501F27D6}"/>
              </a:ext>
            </a:extLst>
          </p:cNvPr>
          <p:cNvSpPr txBox="1"/>
          <p:nvPr/>
        </p:nvSpPr>
        <p:spPr>
          <a:xfrm>
            <a:off x="695400" y="5578279"/>
            <a:ext cx="320976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750" dirty="0"/>
              <a:t>(**) Respecte la versió anterior.</a:t>
            </a:r>
            <a:endParaRPr lang="ca-ES" sz="750" b="0" dirty="0"/>
          </a:p>
        </p:txBody>
      </p:sp>
      <p:sp>
        <p:nvSpPr>
          <p:cNvPr id="77" name="Proceso 79">
            <a:extLst>
              <a:ext uri="{FF2B5EF4-FFF2-40B4-BE49-F238E27FC236}">
                <a16:creationId xmlns:a16="http://schemas.microsoft.com/office/drawing/2014/main" id="{2C9660EA-61ED-49DD-86E7-3D07685F502E}"/>
              </a:ext>
            </a:extLst>
          </p:cNvPr>
          <p:cNvSpPr/>
          <p:nvPr/>
        </p:nvSpPr>
        <p:spPr>
          <a:xfrm>
            <a:off x="967731" y="2208622"/>
            <a:ext cx="786559" cy="810368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F91781B5-D7F4-47AF-AEE5-EEB00A4DB730}"/>
              </a:ext>
            </a:extLst>
          </p:cNvPr>
          <p:cNvSpPr/>
          <p:nvPr/>
        </p:nvSpPr>
        <p:spPr>
          <a:xfrm>
            <a:off x="6312024" y="1196752"/>
            <a:ext cx="5400600" cy="36004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Evolució</a:t>
            </a:r>
            <a:endParaRPr lang="ca-ES">
              <a:cs typeface="Calibri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987E3D2F-8506-493E-AA68-795BD3FC4DD1}"/>
              </a:ext>
            </a:extLst>
          </p:cNvPr>
          <p:cNvGrpSpPr/>
          <p:nvPr/>
        </p:nvGrpSpPr>
        <p:grpSpPr>
          <a:xfrm>
            <a:off x="6960095" y="4077072"/>
            <a:ext cx="4104456" cy="2376264"/>
            <a:chOff x="6672063" y="4221088"/>
            <a:chExt cx="4104456" cy="2376264"/>
          </a:xfrm>
        </p:grpSpPr>
        <p:sp>
          <p:nvSpPr>
            <p:cNvPr id="119" name="Rectángulo 118">
              <a:extLst>
                <a:ext uri="{FF2B5EF4-FFF2-40B4-BE49-F238E27FC236}">
                  <a16:creationId xmlns:a16="http://schemas.microsoft.com/office/drawing/2014/main" id="{005E328F-EB17-44E7-99AF-37362040516D}"/>
                </a:ext>
              </a:extLst>
            </p:cNvPr>
            <p:cNvSpPr/>
            <p:nvPr/>
          </p:nvSpPr>
          <p:spPr>
            <a:xfrm>
              <a:off x="6672063" y="4221088"/>
              <a:ext cx="4104456" cy="2376264"/>
            </a:xfrm>
            <a:prstGeom prst="rect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aphicFrame>
          <p:nvGraphicFramePr>
            <p:cNvPr id="120" name="Gráfico 119">
              <a:extLst>
                <a:ext uri="{FF2B5EF4-FFF2-40B4-BE49-F238E27FC236}">
                  <a16:creationId xmlns:a16="http://schemas.microsoft.com/office/drawing/2014/main" id="{CAC9EE20-9591-41D0-A73A-1BB6BBC9751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10337956"/>
                </p:ext>
              </p:extLst>
            </p:nvPr>
          </p:nvGraphicFramePr>
          <p:xfrm>
            <a:off x="6972127" y="4409577"/>
            <a:ext cx="3510136" cy="19476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3006FE94-9E9B-4FB4-BFE4-8AA9E30B1E04}"/>
                </a:ext>
              </a:extLst>
            </p:cNvPr>
            <p:cNvSpPr txBox="1"/>
            <p:nvPr/>
          </p:nvSpPr>
          <p:spPr>
            <a:xfrm>
              <a:off x="8048432" y="6309320"/>
              <a:ext cx="13517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dirty="0"/>
                <a:t>Increment del codi</a:t>
              </a:r>
            </a:p>
          </p:txBody>
        </p:sp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9D99E729-94D1-41D7-9A0F-C42D86EF250A}"/>
              </a:ext>
            </a:extLst>
          </p:cNvPr>
          <p:cNvGrpSpPr/>
          <p:nvPr/>
        </p:nvGrpSpPr>
        <p:grpSpPr>
          <a:xfrm>
            <a:off x="6312024" y="1643583"/>
            <a:ext cx="5400600" cy="2376264"/>
            <a:chOff x="6023992" y="1916832"/>
            <a:chExt cx="5400600" cy="2376264"/>
          </a:xfrm>
        </p:grpSpPr>
        <p:graphicFrame>
          <p:nvGraphicFramePr>
            <p:cNvPr id="118" name="Gráfico 117">
              <a:extLst>
                <a:ext uri="{FF2B5EF4-FFF2-40B4-BE49-F238E27FC236}">
                  <a16:creationId xmlns:a16="http://schemas.microsoft.com/office/drawing/2014/main" id="{5A50151F-EBE1-4E21-80C0-698C7D9F7B2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59744922"/>
                </p:ext>
              </p:extLst>
            </p:nvPr>
          </p:nvGraphicFramePr>
          <p:xfrm>
            <a:off x="6023992" y="1957604"/>
            <a:ext cx="5400600" cy="23354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sp>
          <p:nvSpPr>
            <p:cNvPr id="125" name="Rectángulo 124">
              <a:extLst>
                <a:ext uri="{FF2B5EF4-FFF2-40B4-BE49-F238E27FC236}">
                  <a16:creationId xmlns:a16="http://schemas.microsoft.com/office/drawing/2014/main" id="{81D35840-A0BE-462F-B7A1-56A876090F0C}"/>
                </a:ext>
              </a:extLst>
            </p:cNvPr>
            <p:cNvSpPr/>
            <p:nvPr/>
          </p:nvSpPr>
          <p:spPr>
            <a:xfrm>
              <a:off x="6023992" y="1916832"/>
              <a:ext cx="5400600" cy="2335492"/>
            </a:xfrm>
            <a:prstGeom prst="rect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35" name="Imagen 34">
            <a:extLst>
              <a:ext uri="{FF2B5EF4-FFF2-40B4-BE49-F238E27FC236}">
                <a16:creationId xmlns:a16="http://schemas.microsoft.com/office/drawing/2014/main" id="{5B5975D9-541D-4D22-81A1-4C26E353D7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142698" y="1756134"/>
            <a:ext cx="144000" cy="144000"/>
          </a:xfrm>
          <a:prstGeom prst="rect">
            <a:avLst/>
          </a:prstGeom>
        </p:spPr>
      </p:pic>
      <p:sp>
        <p:nvSpPr>
          <p:cNvPr id="36" name="CuadroTexto 35">
            <a:extLst>
              <a:ext uri="{FF2B5EF4-FFF2-40B4-BE49-F238E27FC236}">
                <a16:creationId xmlns:a16="http://schemas.microsoft.com/office/drawing/2014/main" id="{494833CA-ABF8-47F7-BA09-5A84752A31E8}"/>
              </a:ext>
            </a:extLst>
          </p:cNvPr>
          <p:cNvSpPr txBox="1"/>
          <p:nvPr/>
        </p:nvSpPr>
        <p:spPr>
          <a:xfrm>
            <a:off x="1314544" y="1703730"/>
            <a:ext cx="571234" cy="230832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ca-ES" sz="900" b="1" dirty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&gt; 10%</a:t>
            </a:r>
          </a:p>
        </p:txBody>
      </p:sp>
    </p:spTree>
    <p:extLst>
      <p:ext uri="{BB962C8B-B14F-4D97-AF65-F5344CB8AC3E}">
        <p14:creationId xmlns:p14="http://schemas.microsoft.com/office/powerpoint/2010/main" val="1118695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62056"/>
            <a:ext cx="11160338" cy="647700"/>
          </a:xfrm>
        </p:spPr>
        <p:txBody>
          <a:bodyPr/>
          <a:lstStyle/>
          <a:p>
            <a:pPr marL="357188" indent="-357188"/>
            <a:r>
              <a:rPr lang="ca-ES" dirty="0"/>
              <a:t>2.1 Detall estat qualitat nova versió a publicar</a:t>
            </a:r>
            <a:br>
              <a:rPr lang="ca-ES" dirty="0"/>
            </a:br>
            <a:r>
              <a:rPr lang="ca-ES" sz="2215" dirty="0"/>
              <a:t>Defectes oberts* més </a:t>
            </a:r>
            <a:r>
              <a:rPr lang="ca-ES" sz="2215" dirty="0" smtClean="0"/>
              <a:t>importants**</a:t>
            </a:r>
            <a:endParaRPr lang="ca-ES" dirty="0"/>
          </a:p>
        </p:txBody>
      </p:sp>
      <p:sp>
        <p:nvSpPr>
          <p:cNvPr id="10" name="Rectángulo 9"/>
          <p:cNvSpPr/>
          <p:nvPr/>
        </p:nvSpPr>
        <p:spPr>
          <a:xfrm>
            <a:off x="4623846" y="6453336"/>
            <a:ext cx="4475905" cy="377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ca-ES" sz="800" b="0" dirty="0"/>
              <a:t>*S’inclouen en els defectes oberts els que es troben a </a:t>
            </a:r>
            <a:r>
              <a:rPr lang="ca-ES" sz="800" b="0" dirty="0" smtClean="0"/>
              <a:t>ALM-</a:t>
            </a:r>
            <a:r>
              <a:rPr lang="ca-ES" sz="800" b="0" dirty="0" err="1" smtClean="0"/>
              <a:t>Octane</a:t>
            </a:r>
            <a:r>
              <a:rPr lang="ca-ES" sz="800" b="0" dirty="0" smtClean="0"/>
              <a:t> en </a:t>
            </a:r>
            <a:r>
              <a:rPr lang="ca-ES" sz="800" b="0" dirty="0"/>
              <a:t>estat </a:t>
            </a:r>
            <a:r>
              <a:rPr lang="ca-ES" sz="800" i="1" dirty="0" err="1" smtClean="0"/>
              <a:t>Opened</a:t>
            </a:r>
            <a:r>
              <a:rPr lang="ca-ES" sz="800" b="0" dirty="0" smtClean="0"/>
              <a:t>, </a:t>
            </a:r>
            <a:r>
              <a:rPr lang="ca-ES" sz="800" i="1" dirty="0" err="1" smtClean="0"/>
              <a:t>Reopened</a:t>
            </a:r>
            <a:r>
              <a:rPr lang="ca-ES" sz="800" b="0" i="1" dirty="0" smtClean="0"/>
              <a:t> </a:t>
            </a:r>
            <a:r>
              <a:rPr lang="ca-ES" sz="800" b="0" dirty="0" smtClean="0"/>
              <a:t>o</a:t>
            </a:r>
            <a:r>
              <a:rPr lang="ca-ES" sz="800" b="0" i="1" dirty="0" smtClean="0"/>
              <a:t> </a:t>
            </a:r>
            <a:r>
              <a:rPr lang="ca-ES" sz="800" i="1" dirty="0"/>
              <a:t>New</a:t>
            </a:r>
            <a:r>
              <a:rPr lang="ca-ES" sz="800" b="0" dirty="0" smtClean="0"/>
              <a:t>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ca-ES" sz="800" dirty="0" smtClean="0"/>
              <a:t>** Correspon als defectes ordenats per </a:t>
            </a:r>
            <a:r>
              <a:rPr lang="ca-ES" sz="800" dirty="0" err="1" smtClean="0"/>
              <a:t>severity</a:t>
            </a:r>
            <a:r>
              <a:rPr lang="ca-ES" sz="800" dirty="0" smtClean="0"/>
              <a:t> </a:t>
            </a:r>
            <a:r>
              <a:rPr lang="ca-ES" sz="800" dirty="0" err="1" smtClean="0"/>
              <a:t>Critical</a:t>
            </a:r>
            <a:r>
              <a:rPr lang="ca-ES" sz="800" dirty="0" smtClean="0"/>
              <a:t> i </a:t>
            </a:r>
            <a:r>
              <a:rPr lang="ca-ES" sz="800" dirty="0" err="1" smtClean="0"/>
              <a:t>very</a:t>
            </a:r>
            <a:r>
              <a:rPr lang="ca-ES" sz="800" dirty="0" smtClean="0"/>
              <a:t> </a:t>
            </a:r>
            <a:r>
              <a:rPr lang="ca-ES" sz="800" dirty="0" err="1" smtClean="0"/>
              <a:t>High</a:t>
            </a:r>
            <a:r>
              <a:rPr lang="ca-ES" sz="800" dirty="0" smtClean="0"/>
              <a:t>.</a:t>
            </a:r>
            <a:endParaRPr lang="ca-ES" sz="800" dirty="0"/>
          </a:p>
        </p:txBody>
      </p:sp>
      <p:sp>
        <p:nvSpPr>
          <p:cNvPr id="15" name="QuadreDeText 48"/>
          <p:cNvSpPr txBox="1"/>
          <p:nvPr/>
        </p:nvSpPr>
        <p:spPr>
          <a:xfrm>
            <a:off x="9480376" y="4441474"/>
            <a:ext cx="1985627" cy="20774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ca-ES" sz="750" b="0" dirty="0"/>
              <a:t>*Extracció de defectes realitzada </a:t>
            </a:r>
            <a:r>
              <a:rPr lang="ca-ES" sz="750" dirty="0"/>
              <a:t>a</a:t>
            </a:r>
            <a:r>
              <a:rPr lang="ca-ES" sz="750" b="0" dirty="0"/>
              <a:t> </a:t>
            </a:r>
            <a:r>
              <a:rPr lang="ca-ES" sz="750" dirty="0" err="1" smtClean="0"/>
              <a:t>dd</a:t>
            </a:r>
            <a:r>
              <a:rPr lang="ca-ES" sz="750" b="0" dirty="0" smtClean="0"/>
              <a:t>/mm/</a:t>
            </a:r>
            <a:r>
              <a:rPr lang="ca-ES" sz="750" b="0" dirty="0" err="1" smtClean="0"/>
              <a:t>aaaa</a:t>
            </a:r>
            <a:endParaRPr lang="ca-ES" sz="750" b="0" dirty="0"/>
          </a:p>
        </p:txBody>
      </p:sp>
      <p:sp>
        <p:nvSpPr>
          <p:cNvPr id="23" name="Rectángulo 22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5" name="Rectángulo 4"/>
          <p:cNvSpPr/>
          <p:nvPr/>
        </p:nvSpPr>
        <p:spPr>
          <a:xfrm>
            <a:off x="2748849" y="1929012"/>
            <a:ext cx="4073765" cy="220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0" name="Rectángulo 29"/>
          <p:cNvSpPr/>
          <p:nvPr/>
        </p:nvSpPr>
        <p:spPr>
          <a:xfrm>
            <a:off x="2929557" y="2780167"/>
            <a:ext cx="4073765" cy="2961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1" name="Rectángulo 30"/>
          <p:cNvSpPr/>
          <p:nvPr/>
        </p:nvSpPr>
        <p:spPr>
          <a:xfrm>
            <a:off x="2900784" y="2338148"/>
            <a:ext cx="4073765" cy="2977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2" name="Rectángulo 31"/>
          <p:cNvSpPr/>
          <p:nvPr/>
        </p:nvSpPr>
        <p:spPr>
          <a:xfrm>
            <a:off x="2903599" y="3191697"/>
            <a:ext cx="4073765" cy="220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5" name="Rectángulo 34"/>
          <p:cNvSpPr/>
          <p:nvPr/>
        </p:nvSpPr>
        <p:spPr>
          <a:xfrm>
            <a:off x="10142392" y="1881567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6" name="Rectángulo 35"/>
          <p:cNvSpPr/>
          <p:nvPr/>
        </p:nvSpPr>
        <p:spPr>
          <a:xfrm>
            <a:off x="10115297" y="2299426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7" name="Rectángulo 36"/>
          <p:cNvSpPr/>
          <p:nvPr/>
        </p:nvSpPr>
        <p:spPr>
          <a:xfrm>
            <a:off x="10142480" y="2743888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8" name="Rectángulo 37"/>
          <p:cNvSpPr/>
          <p:nvPr/>
        </p:nvSpPr>
        <p:spPr>
          <a:xfrm>
            <a:off x="10086069" y="3202225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9" name="Rectángulo 38"/>
          <p:cNvSpPr/>
          <p:nvPr/>
        </p:nvSpPr>
        <p:spPr>
          <a:xfrm>
            <a:off x="10069007" y="3629362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40" name="Rectángulo 39"/>
          <p:cNvSpPr/>
          <p:nvPr/>
        </p:nvSpPr>
        <p:spPr>
          <a:xfrm>
            <a:off x="10054038" y="4080176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41" name="Rectángulo 40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42" name="Imagen 41">
            <a:hlinkClick r:id="rId3" action="ppaction://hlinksldjump"/>
            <a:extLst>
              <a:ext uri="{FF2B5EF4-FFF2-40B4-BE49-F238E27FC236}">
                <a16:creationId xmlns:a16="http://schemas.microsoft.com/office/drawing/2014/main" id="{287667D1-1CA1-4414-9755-A729BFF0EA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4188" y="1312800"/>
            <a:ext cx="9550284" cy="1672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526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ítulo 3"/>
          <p:cNvSpPr txBox="1">
            <a:spLocks/>
          </p:cNvSpPr>
          <p:nvPr/>
        </p:nvSpPr>
        <p:spPr bwMode="auto">
          <a:xfrm>
            <a:off x="601816" y="347542"/>
            <a:ext cx="111603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62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9pPr>
          </a:lstStyle>
          <a:p>
            <a:pPr marL="357188" marR="0" lvl="0" indent="-3571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kern="0" dirty="0">
                <a:latin typeface="Arial"/>
              </a:rPr>
              <a:t>2.2</a:t>
            </a:r>
            <a:r>
              <a:rPr kumimoji="0" lang="ca-ES" sz="2462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</a:rPr>
              <a:t> Detall estat qualitat nova versió a publicar</a:t>
            </a:r>
            <a:br>
              <a:rPr kumimoji="0" lang="ca-ES" sz="2462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</a:rPr>
            </a:br>
            <a:r>
              <a:rPr kumimoji="0" lang="ca-ES" sz="222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</a:rPr>
              <a:t>Transaccions menys eficients en rendiment</a:t>
            </a:r>
          </a:p>
        </p:txBody>
      </p:sp>
      <p:sp>
        <p:nvSpPr>
          <p:cNvPr id="60" name="Rectángulo 59"/>
          <p:cNvSpPr/>
          <p:nvPr/>
        </p:nvSpPr>
        <p:spPr>
          <a:xfrm>
            <a:off x="774550" y="1558379"/>
            <a:ext cx="3796921" cy="855380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200" b="1" dirty="0">
                <a:solidFill>
                  <a:srgbClr val="505050"/>
                </a:solidFill>
                <a:latin typeface="Arial"/>
                <a:cs typeface="+mn-cs"/>
              </a:rPr>
              <a:t>Criteris d’Acceptació (per transacció)</a:t>
            </a:r>
          </a:p>
        </p:txBody>
      </p:sp>
      <p:grpSp>
        <p:nvGrpSpPr>
          <p:cNvPr id="78" name="Grupo 77"/>
          <p:cNvGrpSpPr/>
          <p:nvPr/>
        </p:nvGrpSpPr>
        <p:grpSpPr>
          <a:xfrm rot="5400000">
            <a:off x="864021" y="2413732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79" name="Triángulo isósceles 78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80" name="Triángulo isósceles 79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81" name="Rectángulo 80"/>
          <p:cNvSpPr/>
          <p:nvPr/>
        </p:nvSpPr>
        <p:spPr>
          <a:xfrm>
            <a:off x="1024570" y="2397563"/>
            <a:ext cx="3343238" cy="390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Si </a:t>
            </a:r>
            <a:r>
              <a:rPr lang="ca-ES" sz="1100" b="1" dirty="0">
                <a:solidFill>
                  <a:srgbClr val="E56A05"/>
                </a:solidFill>
                <a:latin typeface="Arial"/>
              </a:rPr>
              <a:t>4s&lt;</a:t>
            </a:r>
            <a:r>
              <a:rPr lang="ca-ES" sz="1100" b="1" dirty="0" err="1">
                <a:solidFill>
                  <a:srgbClr val="E56A05"/>
                </a:solidFill>
                <a:latin typeface="Arial"/>
              </a:rPr>
              <a:t>Tmp</a:t>
            </a:r>
            <a:r>
              <a:rPr lang="ca-ES" sz="1100" b="1" dirty="0">
                <a:solidFill>
                  <a:srgbClr val="E56A05"/>
                </a:solidFill>
                <a:latin typeface="Arial"/>
              </a:rPr>
              <a:t>&lt;=15s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 cal mostrar a l’usuari un </a:t>
            </a:r>
            <a:r>
              <a:rPr lang="ca-ES" sz="1050" i="1" dirty="0" err="1">
                <a:solidFill>
                  <a:srgbClr val="505050"/>
                </a:solidFill>
                <a:latin typeface="Arial"/>
              </a:rPr>
              <a:t>spinner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 d’espera</a:t>
            </a:r>
            <a:endParaRPr lang="ca-ES" sz="900" dirty="0">
              <a:solidFill>
                <a:srgbClr val="505050"/>
              </a:solidFill>
              <a:latin typeface="Arial"/>
            </a:endParaRPr>
          </a:p>
        </p:txBody>
      </p:sp>
      <p:grpSp>
        <p:nvGrpSpPr>
          <p:cNvPr id="82" name="Grupo 81"/>
          <p:cNvGrpSpPr/>
          <p:nvPr/>
        </p:nvGrpSpPr>
        <p:grpSpPr>
          <a:xfrm rot="5400000">
            <a:off x="854594" y="2956432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83" name="Triángulo isósceles 82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84" name="Triángulo isósceles 83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85" name="Rectángulo 84"/>
          <p:cNvSpPr/>
          <p:nvPr/>
        </p:nvSpPr>
        <p:spPr>
          <a:xfrm>
            <a:off x="1015143" y="2948786"/>
            <a:ext cx="3343238" cy="528606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Si </a:t>
            </a:r>
            <a:r>
              <a:rPr lang="ca-ES" sz="1050" b="1" dirty="0" err="1">
                <a:solidFill>
                  <a:srgbClr val="FF0000"/>
                </a:solidFill>
                <a:latin typeface="Arial"/>
              </a:rPr>
              <a:t>Tmp</a:t>
            </a:r>
            <a:r>
              <a:rPr lang="ca-ES" sz="1050" b="1" dirty="0">
                <a:solidFill>
                  <a:srgbClr val="FF0000"/>
                </a:solidFill>
                <a:latin typeface="Arial"/>
              </a:rPr>
              <a:t>&gt;15s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 cal informar a l’usuari amb un missatge, en</a:t>
            </a:r>
            <a:r>
              <a:rPr lang="ca-ES" sz="1050" dirty="0">
                <a:solidFill>
                  <a:srgbClr val="505050"/>
                </a:solidFill>
                <a:latin typeface="Arial"/>
                <a:cs typeface="Arial"/>
              </a:rPr>
              <a:t> el </a:t>
            </a:r>
            <a:r>
              <a:rPr lang="ca-ES" sz="1050" b="1" dirty="0">
                <a:solidFill>
                  <a:srgbClr val="505050"/>
                </a:solidFill>
                <a:latin typeface="Arial"/>
                <a:cs typeface="Arial"/>
              </a:rPr>
              <a:t>cas excepcional </a:t>
            </a:r>
            <a:r>
              <a:rPr lang="ca-ES" sz="1050" dirty="0">
                <a:solidFill>
                  <a:srgbClr val="505050"/>
                </a:solidFill>
                <a:latin typeface="Arial"/>
                <a:cs typeface="Arial"/>
              </a:rPr>
              <a:t>que s’accepti el temps de resposta de la transacció.</a:t>
            </a:r>
            <a:endParaRPr lang="ca-ES" sz="1050" dirty="0">
              <a:solidFill>
                <a:srgbClr val="505050"/>
              </a:solidFill>
              <a:latin typeface="Arial"/>
            </a:endParaRPr>
          </a:p>
        </p:txBody>
      </p:sp>
      <p:grpSp>
        <p:nvGrpSpPr>
          <p:cNvPr id="99" name="Grupo 98"/>
          <p:cNvGrpSpPr/>
          <p:nvPr/>
        </p:nvGrpSpPr>
        <p:grpSpPr>
          <a:xfrm rot="5400000">
            <a:off x="854594" y="3762442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100" name="Triángulo isósceles 99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101" name="Triángulo isósceles 100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102" name="Rectángulo 101"/>
          <p:cNvSpPr/>
          <p:nvPr/>
        </p:nvSpPr>
        <p:spPr>
          <a:xfrm>
            <a:off x="1015143" y="3758973"/>
            <a:ext cx="3343238" cy="390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La taxa d’errors de totes les transaccions realitzades no podrà ser superior al</a:t>
            </a:r>
            <a:r>
              <a:rPr lang="ca-ES" sz="1100" b="1" dirty="0">
                <a:solidFill>
                  <a:srgbClr val="C00000"/>
                </a:solidFill>
                <a:latin typeface="Arial"/>
              </a:rPr>
              <a:t> 2%</a:t>
            </a:r>
            <a:endParaRPr lang="ca-ES" sz="1050" b="1" dirty="0">
              <a:solidFill>
                <a:srgbClr val="C00000"/>
              </a:solidFill>
              <a:latin typeface="Arial"/>
            </a:endParaRPr>
          </a:p>
        </p:txBody>
      </p:sp>
      <p:pic>
        <p:nvPicPr>
          <p:cNvPr id="104" name="Imagen 103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FFFFFF">
                <a:tint val="45000"/>
                <a:satMod val="400000"/>
              </a:srgbClr>
            </a:duotone>
            <a:extLst/>
          </a:blip>
          <a:stretch>
            <a:fillRect/>
          </a:stretch>
        </p:blipFill>
        <p:spPr>
          <a:xfrm>
            <a:off x="604085" y="1535452"/>
            <a:ext cx="213501" cy="225831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Rectángulo 105"/>
          <p:cNvSpPr/>
          <p:nvPr/>
        </p:nvSpPr>
        <p:spPr bwMode="auto">
          <a:xfrm>
            <a:off x="832873" y="4430661"/>
            <a:ext cx="3525508" cy="26161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Es mostren les </a:t>
            </a:r>
            <a:r>
              <a:rPr lang="ca-ES" sz="1100" b="1" kern="0" dirty="0">
                <a:solidFill>
                  <a:srgbClr val="C00000"/>
                </a:solidFill>
                <a:latin typeface="Arial" charset="0"/>
                <a:cs typeface="+mn-cs"/>
              </a:rPr>
              <a:t>3</a:t>
            </a:r>
            <a:r>
              <a:rPr kumimoji="0" lang="ca-ES" sz="1100" b="1" i="0" u="none" strike="noStrike" kern="0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cs typeface="+mn-cs"/>
              </a:rPr>
              <a:t> </a:t>
            </a:r>
            <a:r>
              <a:rPr kumimoji="0" lang="ca-ES" sz="110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cs typeface="+mn-cs"/>
              </a:rPr>
              <a:t>transaccions </a:t>
            </a:r>
            <a:r>
              <a:rPr kumimoji="0" lang="ca-ES" sz="105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analitzades. </a:t>
            </a:r>
          </a:p>
        </p:txBody>
      </p:sp>
      <p:grpSp>
        <p:nvGrpSpPr>
          <p:cNvPr id="107" name="Grupo 130"/>
          <p:cNvGrpSpPr/>
          <p:nvPr/>
        </p:nvGrpSpPr>
        <p:grpSpPr>
          <a:xfrm rot="5400000">
            <a:off x="854594" y="2010201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108" name="Triángulo isósceles 128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109" name="Triángulo isósceles 129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110" name="Rectángulo 131"/>
          <p:cNvSpPr/>
          <p:nvPr/>
        </p:nvSpPr>
        <p:spPr>
          <a:xfrm>
            <a:off x="1015143" y="1994032"/>
            <a:ext cx="3343238" cy="2377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Temps mig percentil 90% (</a:t>
            </a:r>
            <a:r>
              <a:rPr lang="ca-ES" sz="1050" dirty="0" err="1">
                <a:solidFill>
                  <a:srgbClr val="505050"/>
                </a:solidFill>
                <a:latin typeface="Arial"/>
              </a:rPr>
              <a:t>Tmp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) </a:t>
            </a:r>
            <a:r>
              <a:rPr lang="ca-ES" sz="1050" b="1" dirty="0">
                <a:solidFill>
                  <a:srgbClr val="008000"/>
                </a:solidFill>
                <a:latin typeface="Arial"/>
              </a:rPr>
              <a:t>&lt;=4 segons</a:t>
            </a:r>
          </a:p>
        </p:txBody>
      </p:sp>
      <p:sp>
        <p:nvSpPr>
          <p:cNvPr id="57" name="Rectángulo 56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116" name="Rectángulo 115"/>
          <p:cNvSpPr/>
          <p:nvPr/>
        </p:nvSpPr>
        <p:spPr>
          <a:xfrm>
            <a:off x="9709625" y="828416"/>
            <a:ext cx="197361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.x.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i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endParaRPr lang="ca-ES" sz="900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sp>
        <p:nvSpPr>
          <p:cNvPr id="115" name="Marcador de número de diapositiva 2"/>
          <p:cNvSpPr txBox="1">
            <a:spLocks/>
          </p:cNvSpPr>
          <p:nvPr/>
        </p:nvSpPr>
        <p:spPr>
          <a:xfrm>
            <a:off x="9327796" y="6579315"/>
            <a:ext cx="2844800" cy="268287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ca-E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108" b="1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ca-ES" dirty="0"/>
              <a:t>8</a:t>
            </a:r>
          </a:p>
        </p:txBody>
      </p:sp>
      <p:pic>
        <p:nvPicPr>
          <p:cNvPr id="35" name="Imagen 34">
            <a:hlinkClick r:id="rId4" action="ppaction://hlinksldjump"/>
            <a:extLst>
              <a:ext uri="{FF2B5EF4-FFF2-40B4-BE49-F238E27FC236}">
                <a16:creationId xmlns:a16="http://schemas.microsoft.com/office/drawing/2014/main" id="{54D3D436-53D7-4C16-85E7-763BD02515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  <p:pic>
        <p:nvPicPr>
          <p:cNvPr id="36" name="Imagen 35" descr="Captura de pantalla de un celular&#10;&#10;Descripción generada automáticamente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558379"/>
            <a:ext cx="5400040" cy="4134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68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8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199790"/>
            <a:ext cx="11160338" cy="647700"/>
          </a:xfrm>
        </p:spPr>
        <p:txBody>
          <a:bodyPr/>
          <a:lstStyle/>
          <a:p>
            <a:r>
              <a:rPr lang="ca-ES" dirty="0"/>
              <a:t>3. Criteris d'acceptació de la pujada a Producció</a:t>
            </a:r>
          </a:p>
        </p:txBody>
      </p:sp>
      <p:sp>
        <p:nvSpPr>
          <p:cNvPr id="41" name="Rectángulo 40"/>
          <p:cNvSpPr/>
          <p:nvPr/>
        </p:nvSpPr>
        <p:spPr>
          <a:xfrm>
            <a:off x="1271463" y="1374218"/>
            <a:ext cx="10490691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ca-ES" dirty="0">
                <a:latin typeface="Arial" panose="020B0604020202020204" pitchFamily="34" charset="0"/>
              </a:rPr>
              <a:t>Un cop realitzat l’anàlisi de Qualitat de la </a:t>
            </a:r>
            <a:r>
              <a:rPr lang="ca-ES" b="1" i="1" dirty="0">
                <a:latin typeface="Arial" panose="020B0604020202020204" pitchFamily="34" charset="0"/>
              </a:rPr>
              <a:t>versió </a:t>
            </a:r>
            <a:r>
              <a:rPr lang="ca-ES" b="1" i="1" dirty="0" err="1">
                <a:latin typeface="Arial" panose="020B0604020202020204" pitchFamily="34" charset="0"/>
              </a:rPr>
              <a:t>x.x.x</a:t>
            </a:r>
            <a:r>
              <a:rPr lang="ca-ES" b="1" i="1" dirty="0">
                <a:latin typeface="Arial" panose="020B0604020202020204" pitchFamily="34" charset="0"/>
              </a:rPr>
              <a:t> </a:t>
            </a:r>
            <a:r>
              <a:rPr lang="ca-ES" dirty="0">
                <a:latin typeface="Arial" panose="020B0604020202020204" pitchFamily="34" charset="0"/>
              </a:rPr>
              <a:t>entregada, s’estableix que </a:t>
            </a:r>
            <a:r>
              <a:rPr lang="ca-ES" b="1" dirty="0">
                <a:solidFill>
                  <a:srgbClr val="C00000"/>
                </a:solidFill>
                <a:latin typeface="Arial" panose="020B0604020202020204" pitchFamily="34" charset="0"/>
              </a:rPr>
              <a:t>no es superen els criteris d’acceptació </a:t>
            </a:r>
            <a:r>
              <a:rPr lang="ca-ES" dirty="0">
                <a:latin typeface="Arial" panose="020B0604020202020204" pitchFamily="34" charset="0"/>
              </a:rPr>
              <a:t>per al seu desplegament a producció.</a:t>
            </a:r>
          </a:p>
        </p:txBody>
      </p:sp>
      <p:pic>
        <p:nvPicPr>
          <p:cNvPr id="25" name="Imat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508" y="1181903"/>
            <a:ext cx="368238" cy="368238"/>
          </a:xfrm>
          <a:prstGeom prst="rect">
            <a:avLst/>
          </a:prstGeom>
        </p:spPr>
      </p:pic>
      <p:graphicFrame>
        <p:nvGraphicFramePr>
          <p:cNvPr id="31" name="Tabla 4">
            <a:extLst>
              <a:ext uri="{FF2B5EF4-FFF2-40B4-BE49-F238E27FC236}">
                <a16:creationId xmlns:a16="http://schemas.microsoft.com/office/drawing/2014/main" id="{7AB8EABF-897F-4EEC-96E1-5A3F5F950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260889"/>
              </p:ext>
            </p:extLst>
          </p:nvPr>
        </p:nvGraphicFramePr>
        <p:xfrm>
          <a:off x="2453009" y="2335519"/>
          <a:ext cx="7243391" cy="2810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343">
                  <a:extLst>
                    <a:ext uri="{9D8B030D-6E8A-4147-A177-3AD203B41FA5}">
                      <a16:colId xmlns:a16="http://schemas.microsoft.com/office/drawing/2014/main" val="2058510475"/>
                    </a:ext>
                  </a:extLst>
                </a:gridCol>
                <a:gridCol w="780048">
                  <a:extLst>
                    <a:ext uri="{9D8B030D-6E8A-4147-A177-3AD203B41FA5}">
                      <a16:colId xmlns:a16="http://schemas.microsoft.com/office/drawing/2014/main" val="2816300368"/>
                    </a:ext>
                  </a:extLst>
                </a:gridCol>
              </a:tblGrid>
              <a:tr h="574114">
                <a:tc gridSpan="2">
                  <a:txBody>
                    <a:bodyPr/>
                    <a:lstStyle/>
                    <a:p>
                      <a:pPr algn="ctr"/>
                      <a:r>
                        <a:rPr lang="ca-ES" sz="2000" dirty="0"/>
                        <a:t>Criteris d’Acceptació de la pujada a Producció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549188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El Percentatge de defectes no identificats per l’equip de proves és superior al 2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114304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Existeixen defectes oberts </a:t>
                      </a:r>
                      <a:r>
                        <a:rPr lang="ca-ES" sz="1400" dirty="0" err="1">
                          <a:latin typeface="+mn-lt"/>
                        </a:rPr>
                        <a:t>critical</a:t>
                      </a:r>
                      <a:r>
                        <a:rPr lang="ca-ES" sz="1400" dirty="0">
                          <a:latin typeface="+mn-lt"/>
                        </a:rPr>
                        <a:t>/</a:t>
                      </a:r>
                      <a:r>
                        <a:rPr lang="ca-ES" sz="1400" dirty="0" err="1">
                          <a:latin typeface="+mn-lt"/>
                        </a:rPr>
                        <a:t>Very</a:t>
                      </a:r>
                      <a:r>
                        <a:rPr lang="ca-ES" sz="1400" dirty="0">
                          <a:latin typeface="+mn-lt"/>
                        </a:rPr>
                        <a:t> </a:t>
                      </a:r>
                      <a:r>
                        <a:rPr lang="ca-ES" sz="1400" dirty="0" err="1">
                          <a:latin typeface="+mn-lt"/>
                        </a:rPr>
                        <a:t>High</a:t>
                      </a:r>
                      <a:endParaRPr lang="ca-E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3057186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Requisits de risc </a:t>
                      </a:r>
                      <a:r>
                        <a:rPr lang="ca-ES" sz="1400" dirty="0" err="1">
                          <a:latin typeface="+mn-lt"/>
                        </a:rPr>
                        <a:t>High</a:t>
                      </a:r>
                      <a:r>
                        <a:rPr lang="ca-ES" sz="1400" dirty="0">
                          <a:latin typeface="+mn-lt"/>
                        </a:rPr>
                        <a:t> tenen proves associades i no han estat superad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12171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No es superen els criteris de qualitat estàtica del nou codi desenvolup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75399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1400" dirty="0">
                          <a:latin typeface="+mn-lt"/>
                        </a:rPr>
                        <a:t>Les proves de rendiment s’han superat correcta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290509"/>
                  </a:ext>
                </a:extLst>
              </a:tr>
            </a:tbl>
          </a:graphicData>
        </a:graphic>
      </p:graphicFrame>
      <p:pic>
        <p:nvPicPr>
          <p:cNvPr id="38" name="12 Imagen">
            <a:extLst>
              <a:ext uri="{FF2B5EF4-FFF2-40B4-BE49-F238E27FC236}">
                <a16:creationId xmlns:a16="http://schemas.microsoft.com/office/drawing/2014/main" id="{5A12B400-A713-42ED-B4C3-939BD31D5C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050" y="2420888"/>
            <a:ext cx="396000" cy="39600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47" name="19 Imagen">
            <a:extLst>
              <a:ext uri="{FF2B5EF4-FFF2-40B4-BE49-F238E27FC236}">
                <a16:creationId xmlns:a16="http://schemas.microsoft.com/office/drawing/2014/main" id="{A4DD6BA8-9C4D-46CE-AF63-2BCCCD17D5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204" y="4757125"/>
            <a:ext cx="324000" cy="327760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535F982C-B1E9-4F5D-9BB4-A94C051D70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149754" y="3440423"/>
            <a:ext cx="317450" cy="31745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3EC8C0BC-D853-419D-A50B-F092715F78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852778" y="1410452"/>
            <a:ext cx="418685" cy="418685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8FE8C1B4-C0D1-46A4-9A09-FFF3C82E68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149754" y="3907195"/>
            <a:ext cx="317450" cy="317450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FBFEF253-F4DF-41AC-82EC-273706647C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149754" y="4335685"/>
            <a:ext cx="317450" cy="317450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001C801E-F288-4C60-9037-922AE5BDDBE1}"/>
              </a:ext>
            </a:extLst>
          </p:cNvPr>
          <p:cNvSpPr/>
          <p:nvPr/>
        </p:nvSpPr>
        <p:spPr>
          <a:xfrm>
            <a:off x="9709625" y="828416"/>
            <a:ext cx="197361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.x.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i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endParaRPr lang="ca-ES" sz="900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pic>
        <p:nvPicPr>
          <p:cNvPr id="15" name="19 Imagen">
            <a:extLst>
              <a:ext uri="{FF2B5EF4-FFF2-40B4-BE49-F238E27FC236}">
                <a16:creationId xmlns:a16="http://schemas.microsoft.com/office/drawing/2014/main" id="{FD5FFA96-2C00-42C8-8470-D0D15E3065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204" y="2958271"/>
            <a:ext cx="324000" cy="327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25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1D76E832727C4896DCD041F45075EB" ma:contentTypeVersion="7" ma:contentTypeDescription="Crea un document nou" ma:contentTypeScope="" ma:versionID="3c5dbb6c47e8dbd443aa37151724cd50">
  <xsd:schema xmlns:xsd="http://www.w3.org/2001/XMLSchema" xmlns:xs="http://www.w3.org/2001/XMLSchema" xmlns:p="http://schemas.microsoft.com/office/2006/metadata/properties" xmlns:ns2="1ef81f19-cf85-4969-882d-e6a4ea0150e1" xmlns:ns3="c07a89e8-4733-4b5d-8b8a-f94b86cdb07b" targetNamespace="http://schemas.microsoft.com/office/2006/metadata/properties" ma:root="true" ma:fieldsID="5be8a0a891ed1363e072123671ab3075" ns2:_="" ns3:_="">
    <xsd:import namespace="1ef81f19-cf85-4969-882d-e6a4ea0150e1"/>
    <xsd:import namespace="c07a89e8-4733-4b5d-8b8a-f94b86cdb0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f81f19-cf85-4969-882d-e6a4ea015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89e8-4733-4b5d-8b8a-f94b86cdb07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8F9ACB-26AA-406E-A7FF-B441727E6819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418DA142-F6D0-410F-9D0F-C0EED4C7EC49}">
  <ds:schemaRefs>
    <ds:schemaRef ds:uri="c07a89e8-4733-4b5d-8b8a-f94b86cdb07b"/>
    <ds:schemaRef ds:uri="1ef81f19-cf85-4969-882d-e6a4ea0150e1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9DCCCE2-1A74-4358-9131-21FB0ABB7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f81f19-cf85-4969-882d-e6a4ea0150e1"/>
    <ds:schemaRef ds:uri="c07a89e8-4733-4b5d-8b8a-f94b86cdb0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062F8BB-4F6C-483C-A4DD-76728C08BDF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99</TotalTime>
  <Words>594</Words>
  <Application>Microsoft Office PowerPoint</Application>
  <PresentationFormat>Panorámica</PresentationFormat>
  <Paragraphs>133</Paragraphs>
  <Slides>8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Arial</vt:lpstr>
      <vt:lpstr>Calibri</vt:lpstr>
      <vt:lpstr>Helvetica Neue</vt:lpstr>
      <vt:lpstr>Wingdings</vt:lpstr>
      <vt:lpstr>Wingdings 2</vt:lpstr>
      <vt:lpstr>Tema de l'Office</vt:lpstr>
      <vt:lpstr>Diapositiva de think-cell</vt:lpstr>
      <vt:lpstr>Informe de Qualitat Resum Executiu xxxx - xxxxxxx</vt:lpstr>
      <vt:lpstr>Índex</vt:lpstr>
      <vt:lpstr>1. Qualitat de la nova versió a publicar Defectes    </vt:lpstr>
      <vt:lpstr>1. Qualitat de la nova versió a publicar Proves    </vt:lpstr>
      <vt:lpstr>1. Qualitat de la nova versió a publicar Codi Font    </vt:lpstr>
      <vt:lpstr>2.1 Detall estat qualitat nova versió a publicar Defectes oberts* més importants**</vt:lpstr>
      <vt:lpstr>Presentación de PowerPoint</vt:lpstr>
      <vt:lpstr>3. Criteris d'acceptació de la pujada a Producci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 PowerPoint</dc:title>
  <dc:creator>antoni.lunar@gencat.cat</dc:creator>
  <cp:lastModifiedBy>MADARNAS FURQUET Antoni</cp:lastModifiedBy>
  <cp:revision>424</cp:revision>
  <cp:lastPrinted>2011-04-20T15:22:35Z</cp:lastPrinted>
  <dcterms:created xsi:type="dcterms:W3CDTF">2011-04-15T10:08:09Z</dcterms:created>
  <dcterms:modified xsi:type="dcterms:W3CDTF">2020-06-16T16:2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aticaDoc">
    <vt:lpwstr>6;#Organització|3a0baa1a-7fe8-42a5-9b4c-70f41451b2a0</vt:lpwstr>
  </property>
  <property fmtid="{D5CDD505-2E9C-101B-9397-08002B2CF9AE}" pid="3" name="PublicObjectiuDoc">
    <vt:lpwstr>44;#CTTI|ba1d1ce9-998c-46e6-a87f-04e07fd6e879</vt:lpwstr>
  </property>
  <property fmtid="{D5CDD505-2E9C-101B-9397-08002B2CF9AE}" pid="4" name="TipusContingutDoc">
    <vt:lpwstr>64;#Presentació|a3083dd0-a305-43f6-8a5a-81412d427f41</vt:lpwstr>
  </property>
  <property fmtid="{D5CDD505-2E9C-101B-9397-08002B2CF9AE}" pid="5" name="ContentTypeId">
    <vt:lpwstr>0x010100881D76E832727C4896DCD041F45075EB</vt:lpwstr>
  </property>
</Properties>
</file>